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6.xml" ContentType="application/vnd.openxmlformats-officedocument.them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5"/>
    <p:sldMasterId id="2147484766" r:id="rId6"/>
    <p:sldMasterId id="2147484702" r:id="rId7"/>
    <p:sldMasterId id="2147484292" r:id="rId8"/>
    <p:sldMasterId id="2147484701" r:id="rId9"/>
    <p:sldMasterId id="2147484537" r:id="rId10"/>
  </p:sldMasterIdLst>
  <p:notesMasterIdLst>
    <p:notesMasterId r:id="rId28"/>
  </p:notesMasterIdLst>
  <p:handoutMasterIdLst>
    <p:handoutMasterId r:id="rId29"/>
  </p:handoutMasterIdLst>
  <p:sldIdLst>
    <p:sldId id="440" r:id="rId11"/>
    <p:sldId id="487" r:id="rId12"/>
    <p:sldId id="488" r:id="rId13"/>
    <p:sldId id="465" r:id="rId14"/>
    <p:sldId id="466" r:id="rId15"/>
    <p:sldId id="467" r:id="rId16"/>
    <p:sldId id="468" r:id="rId17"/>
    <p:sldId id="469" r:id="rId18"/>
    <p:sldId id="470" r:id="rId19"/>
    <p:sldId id="471" r:id="rId20"/>
    <p:sldId id="489" r:id="rId21"/>
    <p:sldId id="491" r:id="rId22"/>
    <p:sldId id="476" r:id="rId23"/>
    <p:sldId id="479" r:id="rId24"/>
    <p:sldId id="480" r:id="rId25"/>
    <p:sldId id="492" r:id="rId26"/>
    <p:sldId id="475" r:id="rId27"/>
  </p:sldIdLst>
  <p:sldSz cx="9144000" cy="5143500" type="screen16x9"/>
  <p:notesSz cx="6858000" cy="9144000"/>
  <p:custDataLst>
    <p:tags r:id="rId30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Основная часть" id="{0051B5CB-2B8F-4FF7-8BBA-D5EEA3048BF6}">
          <p14:sldIdLst>
            <p14:sldId id="440"/>
            <p14:sldId id="487"/>
            <p14:sldId id="488"/>
            <p14:sldId id="465"/>
            <p14:sldId id="466"/>
            <p14:sldId id="467"/>
            <p14:sldId id="468"/>
            <p14:sldId id="469"/>
            <p14:sldId id="470"/>
            <p14:sldId id="471"/>
            <p14:sldId id="489"/>
            <p14:sldId id="491"/>
            <p14:sldId id="476"/>
            <p14:sldId id="479"/>
            <p14:sldId id="480"/>
          </p14:sldIdLst>
        </p14:section>
        <p14:section name="Приложение" id="{96BC49D1-1256-4B3C-B9F7-F62FF7956230}">
          <p14:sldIdLst>
            <p14:sldId id="492"/>
            <p14:sldId id="475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Николай Самойленко" initials="НС" lastIdx="1" clrIdx="0">
    <p:extLst>
      <p:ext uri="{19B8F6BF-5375-455C-9EA6-DF929625EA0E}">
        <p15:presenceInfo xmlns:p15="http://schemas.microsoft.com/office/powerpoint/2012/main" userId="fcfc93b243611c08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EEF"/>
    <a:srgbClr val="008C95"/>
    <a:srgbClr val="E04E39"/>
    <a:srgbClr val="FABE19"/>
    <a:srgbClr val="77E2C3"/>
    <a:srgbClr val="008CFA"/>
    <a:srgbClr val="003D4C"/>
    <a:srgbClr val="FFC000"/>
    <a:srgbClr val="FA786E"/>
    <a:srgbClr val="B2B2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80" autoAdjust="0"/>
    <p:restoredTop sz="96395" autoAdjust="0"/>
  </p:normalViewPr>
  <p:slideViewPr>
    <p:cSldViewPr snapToGrid="0">
      <p:cViewPr varScale="1">
        <p:scale>
          <a:sx n="116" d="100"/>
          <a:sy n="116" d="100"/>
        </p:scale>
        <p:origin x="67" y="8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" d="100"/>
        <a:sy n="2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60" d="100"/>
          <a:sy n="60" d="100"/>
        </p:scale>
        <p:origin x="2150" y="6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A1E996-BAC1-4F64-B70A-C57C55581E6E}" type="datetime4">
              <a:rPr lang="ru-RU" smtClean="0"/>
              <a:t>12 апреля 2022 г.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5374-BFD1-4068-ABE3-5F919E1EE36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4827740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/>
              <a:t>123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8598A26-3251-47B2-9790-23CD65BA0AA9}" type="datetime4">
              <a:rPr lang="ru-RU" smtClean="0"/>
              <a:t>12 апреля 2022 г.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DC9E7D-DF78-4283-97F9-86BECCE66E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716281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8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0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4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5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1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4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43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5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0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01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032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9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9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9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8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9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4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9</a:t>
            </a:r>
            <a:endParaRPr lang="ru-RU" dirty="0"/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3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0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30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0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smtClea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>
                <a:solidFill>
                  <a:schemeClr val="bg1"/>
                </a:solidFill>
              </a:rPr>
              <a:t>Образец заголовка</a:t>
            </a:r>
            <a:endParaRPr lang="ru-RU" kern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23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10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Образец заголовка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12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8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21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4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8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11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13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20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4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45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41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6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FFFFFF"/>
                </a:solidFill>
              </a:rPr>
              <a:t>Партнеры</a:t>
            </a:r>
            <a:r>
              <a:rPr lang="ru-RU" sz="1100" baseline="0" dirty="0" smtClean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1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1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1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2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75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55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4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859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44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2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smtClean="0"/>
              <a:t>Подзаголовок (заполняется по необходимости)</a:t>
            </a:r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65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7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7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Место (город)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Месяц Год</a:t>
            </a:r>
            <a:endParaRPr lang="ru-RU" dirty="0"/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1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77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0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646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2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7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Пиктограмма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37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48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4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 smtClean="0"/>
              <a:t>Имя 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/ функция / направление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60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4758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70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4502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58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60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 userDrawn="1"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 userDrawn="1"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 userDrawn="1"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 userDrawn="1"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48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06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 userDrawn="1"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 userDrawn="1"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 userDrawn="1"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 userDrawn="1"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16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 userDrawn="1"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6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 userDrawn="1"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37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 userDrawn="1"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 smtClean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 userDrawn="1"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 userDrawn="1"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 userDrawn="1"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 userDrawn="1"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 userDrawn="1"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 userDrawn="1"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47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39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41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843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946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48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50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15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53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55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58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0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3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655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67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97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072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953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 smtClean="0"/>
              <a:t>Подзаголовок (заполняется по необходимости)</a:t>
            </a:r>
          </a:p>
          <a:p>
            <a:pPr lvl="0"/>
            <a:endParaRPr lang="ru-RU" dirty="0" smtClean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6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 userDrawn="1"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089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81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1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22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322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 userDrawn="1"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 userDrawn="1"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42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91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015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Прямоугольник 14"/>
          <p:cNvSpPr/>
          <p:nvPr userDrawn="1"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 userDrawn="1"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17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777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80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82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4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9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94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6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6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66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25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13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2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30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38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40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4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32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435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2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7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6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 smtClean="0"/>
              <a:t>Вставка рисунка</a:t>
            </a:r>
            <a:endParaRPr lang="ru-RU"/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3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63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4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4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4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5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Специальные пластификаторы. Расширение продуктового ассортимента для строительного сегмента 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697131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807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58437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71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90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1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092" y="214878"/>
            <a:ext cx="7772400" cy="569620"/>
          </a:xfrm>
          <a:prstGeom prst="rect">
            <a:avLst/>
          </a:prstGeom>
        </p:spPr>
        <p:txBody>
          <a:bodyPr/>
          <a:lstStyle>
            <a:lvl1pPr algn="l">
              <a:defRPr sz="1425" b="1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Rectangle 4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909750-BD4F-4707-BC6D-033BD38831B6}" type="slidenum">
              <a:rPr lang="ru-RU" altLang="en-US">
                <a:solidFill>
                  <a:prstClr val="black">
                    <a:lumMod val="65000"/>
                    <a:lumOff val="35000"/>
                  </a:prstClr>
                </a:solidFill>
              </a:rPr>
              <a:pPr>
                <a:defRPr/>
              </a:pPr>
              <a:t>‹#›</a:t>
            </a:fld>
            <a:endParaRPr lang="ru-RU" altLang="en-US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965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55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chemeClr val="bg1"/>
                </a:solidFill>
              </a:rPr>
              <a:t>Партнеры</a:t>
            </a:r>
            <a:r>
              <a:rPr lang="ru-RU" sz="1100" baseline="0" dirty="0" smtClean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Пиктограмма</a:t>
            </a:r>
            <a:endParaRPr lang="ru-RU" dirty="0"/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 smtClean="0">
                    <a:solidFill>
                      <a:schemeClr val="bg1"/>
                    </a:solidFill>
                  </a:rPr>
                </a:br>
                <a:r>
                  <a:rPr lang="en-US" sz="700" dirty="0" smtClean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 smtClean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 smtClean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 smtClean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 smtClean="0">
                    <a:solidFill>
                      <a:srgbClr val="FFFFFF"/>
                    </a:solidFill>
                  </a:rPr>
                </a:br>
                <a:r>
                  <a:rPr lang="en-US" sz="700" dirty="0" smtClean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smtClean="0">
                    <a:solidFill>
                      <a:schemeClr val="bg1"/>
                    </a:solidFill>
                  </a:rPr>
                  <a:t>Основные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 smtClean="0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 smtClean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57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 smtClean="0"/>
              <a:t>Контакты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Контакты компании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 smtClean="0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 smtClean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 smtClean="0"/>
              <a:t>СИБУР </a:t>
            </a:r>
            <a:r>
              <a:rPr lang="ru-RU" dirty="0" err="1" smtClean="0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СИБУР </a:t>
            </a:r>
            <a:r>
              <a:rPr lang="en-US" dirty="0" smtClean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 smtClean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QR</a:t>
            </a:r>
            <a:r>
              <a:rPr lang="ru-RU" dirty="0" smtClean="0"/>
              <a:t> код</a:t>
            </a:r>
            <a:endParaRPr lang="ru-RU" dirty="0"/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smtClean="0"/>
              <a:t>Тел.: +7 (495) 777-55-00; +7 (495) 780-55-00</a:t>
            </a:r>
            <a:endParaRPr lang="ru-RU" dirty="0"/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88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80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4</a:t>
            </a:r>
            <a:endParaRPr lang="ru-RU" dirty="0"/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5</a:t>
            </a:r>
            <a:endParaRPr lang="ru-RU" dirty="0"/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6</a:t>
            </a:r>
            <a:endParaRPr lang="ru-RU" dirty="0"/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7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oleObject" Target="../embeddings/oleObject29.bin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tags" Target="../tags/tag32.xml"/><Relationship Id="rId5" Type="http://schemas.openxmlformats.org/officeDocument/2006/relationships/slideLayout" Target="../slideLayouts/slideLayout32.xml"/><Relationship Id="rId10" Type="http://schemas.openxmlformats.org/officeDocument/2006/relationships/tags" Target="../tags/tag31.xml"/><Relationship Id="rId4" Type="http://schemas.openxmlformats.org/officeDocument/2006/relationships/slideLayout" Target="../slideLayouts/slideLayout31.xml"/><Relationship Id="rId9" Type="http://schemas.openxmlformats.org/officeDocument/2006/relationships/vmlDrawing" Target="../drawings/vmlDrawing29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34" Type="http://schemas.openxmlformats.org/officeDocument/2006/relationships/oleObject" Target="../embeddings/oleObject37.bin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vmlDrawing" Target="../drawings/vmlDrawing37.v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.xml"/><Relationship Id="rId13" Type="http://schemas.openxmlformats.org/officeDocument/2006/relationships/slideLayout" Target="../slideLayouts/slideLayout76.xml"/><Relationship Id="rId18" Type="http://schemas.openxmlformats.org/officeDocument/2006/relationships/slideLayout" Target="../slideLayouts/slideLayout81.xml"/><Relationship Id="rId26" Type="http://schemas.openxmlformats.org/officeDocument/2006/relationships/slideLayout" Target="../slideLayouts/slideLayout89.xml"/><Relationship Id="rId3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84.xml"/><Relationship Id="rId7" Type="http://schemas.openxmlformats.org/officeDocument/2006/relationships/slideLayout" Target="../slideLayouts/slideLayout70.xml"/><Relationship Id="rId12" Type="http://schemas.openxmlformats.org/officeDocument/2006/relationships/slideLayout" Target="../slideLayouts/slideLayout75.xml"/><Relationship Id="rId17" Type="http://schemas.openxmlformats.org/officeDocument/2006/relationships/slideLayout" Target="../slideLayouts/slideLayout80.xml"/><Relationship Id="rId25" Type="http://schemas.openxmlformats.org/officeDocument/2006/relationships/slideLayout" Target="../slideLayouts/slideLayout88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65.xml"/><Relationship Id="rId16" Type="http://schemas.openxmlformats.org/officeDocument/2006/relationships/slideLayout" Target="../slideLayouts/slideLayout79.xml"/><Relationship Id="rId20" Type="http://schemas.openxmlformats.org/officeDocument/2006/relationships/slideLayout" Target="../slideLayouts/slideLayout83.xml"/><Relationship Id="rId29" Type="http://schemas.openxmlformats.org/officeDocument/2006/relationships/tags" Target="../tags/tag71.xml"/><Relationship Id="rId1" Type="http://schemas.openxmlformats.org/officeDocument/2006/relationships/slideLayout" Target="../slideLayouts/slideLayout64.xml"/><Relationship Id="rId6" Type="http://schemas.openxmlformats.org/officeDocument/2006/relationships/slideLayout" Target="../slideLayouts/slideLayout69.xml"/><Relationship Id="rId11" Type="http://schemas.openxmlformats.org/officeDocument/2006/relationships/slideLayout" Target="../slideLayouts/slideLayout74.xml"/><Relationship Id="rId24" Type="http://schemas.openxmlformats.org/officeDocument/2006/relationships/slideLayout" Target="../slideLayouts/slideLayout8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68.xml"/><Relationship Id="rId15" Type="http://schemas.openxmlformats.org/officeDocument/2006/relationships/slideLayout" Target="../slideLayouts/slideLayout78.xml"/><Relationship Id="rId23" Type="http://schemas.openxmlformats.org/officeDocument/2006/relationships/slideLayout" Target="../slideLayouts/slideLayout86.xml"/><Relationship Id="rId28" Type="http://schemas.openxmlformats.org/officeDocument/2006/relationships/vmlDrawing" Target="../drawings/vmlDrawing67.vml"/><Relationship Id="rId10" Type="http://schemas.openxmlformats.org/officeDocument/2006/relationships/slideLayout" Target="../slideLayouts/slideLayout73.xml"/><Relationship Id="rId19" Type="http://schemas.openxmlformats.org/officeDocument/2006/relationships/slideLayout" Target="../slideLayouts/slideLayout82.xml"/><Relationship Id="rId31" Type="http://schemas.openxmlformats.org/officeDocument/2006/relationships/oleObject" Target="../embeddings/oleObject67.bin"/><Relationship Id="rId4" Type="http://schemas.openxmlformats.org/officeDocument/2006/relationships/slideLayout" Target="../slideLayouts/slideLayout67.xml"/><Relationship Id="rId9" Type="http://schemas.openxmlformats.org/officeDocument/2006/relationships/slideLayout" Target="../slideLayouts/slideLayout72.xml"/><Relationship Id="rId14" Type="http://schemas.openxmlformats.org/officeDocument/2006/relationships/slideLayout" Target="../slideLayouts/slideLayout77.xml"/><Relationship Id="rId22" Type="http://schemas.openxmlformats.org/officeDocument/2006/relationships/slideLayout" Target="../slideLayouts/slideLayout85.xml"/><Relationship Id="rId27" Type="http://schemas.openxmlformats.org/officeDocument/2006/relationships/theme" Target="../theme/theme4.xml"/><Relationship Id="rId30" Type="http://schemas.openxmlformats.org/officeDocument/2006/relationships/tags" Target="../tags/tag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oleObject" Target="../embeddings/oleObject93.bin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ags" Target="../tags/tag99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tags" Target="../tags/tag98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3.vml"/><Relationship Id="rId4" Type="http://schemas.openxmlformats.org/officeDocument/2006/relationships/slideLayout" Target="../slideLayouts/slideLayout93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slideLayout" Target="../slideLayouts/slideLayout123.xml"/><Relationship Id="rId39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34" Type="http://schemas.openxmlformats.org/officeDocument/2006/relationships/slideLayout" Target="../slideLayouts/slideLayout131.xml"/><Relationship Id="rId42" Type="http://schemas.openxmlformats.org/officeDocument/2006/relationships/slideLayout" Target="../slideLayouts/slideLayout139.xml"/><Relationship Id="rId47" Type="http://schemas.openxmlformats.org/officeDocument/2006/relationships/tags" Target="../tags/tag102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tags" Target="../tags/tag101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29" Type="http://schemas.openxmlformats.org/officeDocument/2006/relationships/slideLayout" Target="../slideLayouts/slideLayout126.xml"/><Relationship Id="rId41" Type="http://schemas.openxmlformats.org/officeDocument/2006/relationships/slideLayout" Target="../slideLayouts/slideLayout138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vmlDrawing" Target="../drawings/vmlDrawing95.v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31" Type="http://schemas.openxmlformats.org/officeDocument/2006/relationships/slideLayout" Target="../slideLayouts/slideLayout128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oleObject" Target="../embeddings/oleObject95.bin"/><Relationship Id="rId8" Type="http://schemas.openxmlformats.org/officeDocument/2006/relationships/slideLayout" Target="../slideLayouts/slideLayout10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46" name="Слайд think-cell" r:id="rId32" imgW="270" imgH="270" progId="TCLayout.ActiveDocument.1">
                  <p:embed/>
                </p:oleObj>
              </mc:Choice>
              <mc:Fallback>
                <p:oleObj name="Слайд think-cell" r:id="rId3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</a:t>
            </a:r>
            <a:r>
              <a:rPr lang="ru-RU" dirty="0" smtClean="0"/>
              <a:t>(</a:t>
            </a:r>
            <a:r>
              <a:rPr lang="ru-RU" dirty="0"/>
              <a:t>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8" r:id="rId26"/>
    <p:sldLayoutId id="2147484779" r:id="rId2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384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480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2880" userDrawn="1">
          <p15:clr>
            <a:srgbClr val="F26B43"/>
          </p15:clr>
        </p15:guide>
        <p15:guide id="12" orient="horz" pos="957" userDrawn="1">
          <p15:clr>
            <a:srgbClr val="F26B43"/>
          </p15:clr>
        </p15:guide>
        <p15:guide id="13" orient="horz" pos="1914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63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80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951" name="Слайд think-cell" r:id="rId31" imgW="270" imgH="270" progId="TCLayout.ActiveDocument.1">
                  <p:embed/>
                </p:oleObj>
              </mc:Choice>
              <mc:Fallback>
                <p:oleObj name="Слайд think-cell" r:id="rId3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76" r:id="rId24"/>
    <p:sldLayoutId id="2147484780" r:id="rId25"/>
    <p:sldLayoutId id="2147484781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645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4800" userDrawn="1">
          <p15:clr>
            <a:srgbClr val="F26B43"/>
          </p15:clr>
        </p15:guide>
        <p15:guide id="8" orient="horz" pos="1915" userDrawn="1">
          <p15:clr>
            <a:srgbClr val="F26B43"/>
          </p15:clr>
        </p15:guide>
        <p15:guide id="9" pos="3840" userDrawn="1">
          <p15:clr>
            <a:srgbClr val="F26B43"/>
          </p15:clr>
        </p15:guide>
        <p15:guide id="10" pos="960" userDrawn="1">
          <p15:clr>
            <a:srgbClr val="F26B43"/>
          </p15:clr>
        </p15:guide>
        <p15:guide id="11" pos="1920" userDrawn="1">
          <p15:clr>
            <a:srgbClr val="F26B43"/>
          </p15:clr>
        </p15:guide>
        <p15:guide id="12" pos="2880" userDrawn="1">
          <p15:clr>
            <a:srgbClr val="F26B43"/>
          </p15:clr>
        </p15:guide>
        <p15:guide id="13" orient="horz" pos="962" userDrawn="1">
          <p15:clr>
            <a:srgbClr val="F26B43"/>
          </p15:clr>
        </p15:guide>
        <p15:guide id="14" orient="horz" pos="162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  <p:extLst/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892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</a:t>
            </a:r>
            <a:r>
              <a:rPr lang="ru-RU" altLang="en-US" dirty="0" smtClean="0"/>
              <a:t>уровень</a:t>
            </a:r>
          </a:p>
          <a:p>
            <a:pPr lvl="4"/>
            <a:r>
              <a:rPr lang="ru-RU" altLang="en-US" dirty="0" smtClean="0"/>
              <a:t>Пятый уровень</a:t>
            </a:r>
            <a:endParaRPr lang="ru-RU" altLang="en-US" dirty="0"/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241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</a:t>
            </a:r>
            <a:r>
              <a:rPr lang="ru-RU" dirty="0" smtClean="0"/>
              <a:t>заголовка (заголовок не более 2 строк)</a:t>
            </a:r>
            <a:endParaRPr lang="ru-RU" dirty="0"/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61</a:t>
              </a:r>
              <a:br>
                <a:rPr lang="en-US" sz="700" dirty="0" smtClean="0">
                  <a:solidFill>
                    <a:schemeClr val="bg1"/>
                  </a:solidFill>
                </a:rPr>
              </a:br>
              <a:r>
                <a:rPr lang="en-US" sz="700" dirty="0" smtClean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 smtClean="0">
                  <a:solidFill>
                    <a:schemeClr val="bg1"/>
                  </a:solidFill>
                </a:rPr>
                <a:t>1</a:t>
              </a:r>
              <a:r>
                <a:rPr lang="en-US" sz="700" dirty="0" smtClean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 smtClean="0">
                  <a:solidFill>
                    <a:srgbClr val="FFFFFF"/>
                  </a:solidFill>
                </a:rPr>
                <a:t>224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78</a:t>
              </a:r>
              <a:br>
                <a:rPr lang="en-US" sz="700" dirty="0" smtClean="0">
                  <a:solidFill>
                    <a:srgbClr val="FFFFFF"/>
                  </a:solidFill>
                </a:rPr>
              </a:br>
              <a:r>
                <a:rPr lang="en-US" sz="700" dirty="0" smtClean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smtClean="0"/>
                <a:t>Основные</a:t>
              </a:r>
              <a:endParaRPr lang="ru-RU" sz="800" dirty="0"/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 smtClean="0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 smtClean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 userDrawn="1">
          <p15:clr>
            <a:srgbClr val="F26B43"/>
          </p15:clr>
        </p15:guide>
        <p15:guide id="2" pos="226" userDrawn="1">
          <p15:clr>
            <a:srgbClr val="F26B43"/>
          </p15:clr>
        </p15:guide>
        <p15:guide id="3" orient="horz" pos="2867" userDrawn="1">
          <p15:clr>
            <a:srgbClr val="F26B43"/>
          </p15:clr>
        </p15:guide>
        <p15:guide id="4" pos="5534" userDrawn="1">
          <p15:clr>
            <a:srgbClr val="F26B43"/>
          </p15:clr>
        </p15:guide>
        <p15:guide id="5" orient="horz" pos="1620" userDrawn="1">
          <p15:clr>
            <a:srgbClr val="F26B43"/>
          </p15:clr>
        </p15:guide>
        <p15:guide id="6" orient="horz" pos="713" userDrawn="1">
          <p15:clr>
            <a:srgbClr val="F26B43"/>
          </p15:clr>
        </p15:guide>
        <p15:guide id="7" pos="2880" userDrawn="1">
          <p15:clr>
            <a:srgbClr val="F26B43"/>
          </p15:clr>
        </p15:guide>
        <p15:guide id="8" pos="1920" userDrawn="1">
          <p15:clr>
            <a:srgbClr val="F26B43"/>
          </p15:clr>
        </p15:guide>
        <p15:guide id="9" pos="960" userDrawn="1">
          <p15:clr>
            <a:srgbClr val="F26B43"/>
          </p15:clr>
        </p15:guide>
        <p15:guide id="10" pos="3840" userDrawn="1">
          <p15:clr>
            <a:srgbClr val="F26B43"/>
          </p15:clr>
        </p15:guide>
        <p15:guide id="11" pos="4800" userDrawn="1">
          <p15:clr>
            <a:srgbClr val="F26B43"/>
          </p15:clr>
        </p15:guide>
        <p15:guide id="12" orient="horz" pos="1915" userDrawn="1">
          <p15:clr>
            <a:srgbClr val="F26B43"/>
          </p15:clr>
        </p15:guide>
        <p15:guide id="13" orient="horz" pos="645" userDrawn="1">
          <p15:clr>
            <a:srgbClr val="F26B43"/>
          </p15:clr>
        </p15:guide>
        <p15:guide id="14" orient="horz" pos="96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35.jpeg"/><Relationship Id="rId2" Type="http://schemas.openxmlformats.org/officeDocument/2006/relationships/tags" Target="../tags/tag152.xml"/><Relationship Id="rId1" Type="http://schemas.openxmlformats.org/officeDocument/2006/relationships/vmlDrawing" Target="../drawings/vmlDrawing145.vml"/><Relationship Id="rId6" Type="http://schemas.openxmlformats.org/officeDocument/2006/relationships/hyperlink" Target="http://images.google.com/imgres?imgurl=http://www.bsnglasspack.com/uploadedImages/Web_Site/O-I/NorthAmerica/Closure/Kristalyviz%20Closures1.jpg&amp;imgrefurl=http://www.bsnglasspack.com/index.aspx?LangType=1033&amp;id=1704&amp;h=527&amp;w=793&amp;sz=69&amp;hl=fr&amp;start=50&amp;sig2=rJB3mjdC6rq9VN3Z89kHQQ&amp;um=1&amp;tbnid=zEBstLnQIUM5ZM:&amp;tbnh=95&amp;tbnw=143&amp;ei=f1d6SK7NNIT0wwGhh5Vg&amp;prev=/images?q=closures+polyethylene&amp;start=36&amp;ndsp=18&amp;um=1&amp;hl=fr&amp;rls=GGLJ,GGLJ:2006-37,GGLJ:fr&amp;sa=N" TargetMode="Externa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5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88.xml"/><Relationship Id="rId7" Type="http://schemas.openxmlformats.org/officeDocument/2006/relationships/image" Target="../media/image6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6.bin"/><Relationship Id="rId9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9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7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8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9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0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G"/><Relationship Id="rId3" Type="http://schemas.openxmlformats.org/officeDocument/2006/relationships/image" Target="../media/image37.jpg"/><Relationship Id="rId7" Type="http://schemas.openxmlformats.org/officeDocument/2006/relationships/image" Target="../media/image40.png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87.xml"/><Relationship Id="rId6" Type="http://schemas.openxmlformats.org/officeDocument/2006/relationships/hyperlink" Target="https://vk.com/sibur_polylab" TargetMode="External"/><Relationship Id="rId5" Type="http://schemas.openxmlformats.org/officeDocument/2006/relationships/image" Target="../media/image39.JPG"/><Relationship Id="rId4" Type="http://schemas.openxmlformats.org/officeDocument/2006/relationships/image" Target="../media/image38.PNG"/><Relationship Id="rId9" Type="http://schemas.openxmlformats.org/officeDocument/2006/relationships/hyperlink" Target="https://t.me/siburpolylab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10.png"/><Relationship Id="rId2" Type="http://schemas.openxmlformats.org/officeDocument/2006/relationships/tags" Target="../tags/tag147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9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Relationship Id="rId9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15.png"/><Relationship Id="rId12" Type="http://schemas.openxmlformats.org/officeDocument/2006/relationships/image" Target="../media/image20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4.jpeg"/><Relationship Id="rId11" Type="http://schemas.openxmlformats.org/officeDocument/2006/relationships/image" Target="../media/image19.png"/><Relationship Id="rId5" Type="http://schemas.openxmlformats.org/officeDocument/2006/relationships/image" Target="../media/image13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41.bin"/><Relationship Id="rId9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23.jpeg"/><Relationship Id="rId2" Type="http://schemas.openxmlformats.org/officeDocument/2006/relationships/tags" Target="../tags/tag149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2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2.bin"/><Relationship Id="rId9" Type="http://schemas.openxmlformats.org/officeDocument/2006/relationships/image" Target="../media/image2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65.xml"/><Relationship Id="rId5" Type="http://schemas.openxmlformats.org/officeDocument/2006/relationships/image" Target="../media/image29.png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31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30.jpe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44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3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ru-RU" sz="4900" b="1" cap="all" dirty="0"/>
              <a:t>ОБЕСПЕЧЕНИЕ СТАБИЛЬНОСТИ КОМПАНИИ </a:t>
            </a:r>
            <a:br>
              <a:rPr lang="ru-RU" sz="4900" b="1" cap="all" dirty="0"/>
            </a:br>
            <a:r>
              <a:rPr lang="ru-RU" sz="4900" cap="all" dirty="0">
                <a:solidFill>
                  <a:schemeClr val="accent6"/>
                </a:solidFill>
              </a:rPr>
              <a:t>В НОВЫХ УСЛОВИЯХ</a:t>
            </a:r>
            <a:endParaRPr lang="ru-RU" sz="49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err="1"/>
              <a:t>Вебинар</a:t>
            </a:r>
            <a:endParaRPr lang="ru-RU" dirty="0"/>
          </a:p>
          <a:p>
            <a:r>
              <a:rPr lang="ru-RU" dirty="0"/>
              <a:t>12 апреля, </a:t>
            </a:r>
            <a:r>
              <a:rPr lang="ru-RU" dirty="0" smtClean="0"/>
              <a:t>11:00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236856" y="3293766"/>
            <a:ext cx="6732905" cy="986979"/>
          </a:xfrm>
        </p:spPr>
        <p:txBody>
          <a:bodyPr/>
          <a:lstStyle/>
          <a:p>
            <a:r>
              <a:rPr lang="ru-RU" dirty="0"/>
              <a:t>Коваленко Ольга Викторовна</a:t>
            </a:r>
          </a:p>
          <a:p>
            <a:r>
              <a:rPr lang="ru-RU" dirty="0"/>
              <a:t>Менеджер, Группа переработки Литье и Формование, ООО «</a:t>
            </a:r>
            <a:r>
              <a:rPr lang="ru-RU" dirty="0" err="1"/>
              <a:t>Сибур</a:t>
            </a:r>
            <a:r>
              <a:rPr lang="ru-RU" dirty="0"/>
              <a:t> ПолиЛаб</a:t>
            </a:r>
            <a:r>
              <a:rPr lang="ru-RU" dirty="0" smtClean="0"/>
              <a:t>»</a:t>
            </a:r>
            <a:br>
              <a:rPr lang="ru-RU" dirty="0" smtClean="0"/>
            </a:br>
            <a:endParaRPr lang="ru-RU" dirty="0"/>
          </a:p>
          <a:p>
            <a:r>
              <a:rPr lang="ru-RU" dirty="0"/>
              <a:t>Хапренко Владимир Викторович</a:t>
            </a:r>
          </a:p>
          <a:p>
            <a:r>
              <a:rPr lang="ru-RU" dirty="0" smtClean="0"/>
              <a:t>Эксперт, Технический сервис нефтехимического бизнеса, ООО «</a:t>
            </a:r>
            <a:r>
              <a:rPr lang="ru-RU" dirty="0" err="1" smtClean="0"/>
              <a:t>Сибур</a:t>
            </a:r>
            <a:r>
              <a:rPr lang="ru-RU" dirty="0" smtClean="0"/>
              <a:t>»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endParaRPr lang="ru-RU" dirty="0"/>
          </a:p>
          <a:p>
            <a:endParaRPr lang="ru-RU" dirty="0"/>
          </a:p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305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1239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69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256465" y="94433"/>
            <a:ext cx="8426451" cy="307777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/>
              <a:t>Перспективные продуктовые решения ПП и ПЭВП</a:t>
            </a:r>
          </a:p>
        </p:txBody>
      </p:sp>
      <p:graphicFrame>
        <p:nvGraphicFramePr>
          <p:cNvPr id="14" name="Таблица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620064"/>
              </p:ext>
            </p:extLst>
          </p:nvPr>
        </p:nvGraphicFramePr>
        <p:xfrm>
          <a:off x="141364" y="479311"/>
          <a:ext cx="8746076" cy="36787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0653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822302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4091776">
                  <a:extLst>
                    <a:ext uri="{9D8B030D-6E8A-4147-A177-3AD203B41FA5}">
                      <a16:colId xmlns:a16="http://schemas.microsoft.com/office/drawing/2014/main" val="2970582014"/>
                    </a:ext>
                  </a:extLst>
                </a:gridCol>
                <a:gridCol w="1453830">
                  <a:extLst>
                    <a:ext uri="{9D8B030D-6E8A-4147-A177-3AD203B41FA5}">
                      <a16:colId xmlns:a16="http://schemas.microsoft.com/office/drawing/2014/main" val="2796984141"/>
                    </a:ext>
                  </a:extLst>
                </a:gridCol>
                <a:gridCol w="1427515">
                  <a:extLst>
                    <a:ext uri="{9D8B030D-6E8A-4147-A177-3AD203B41FA5}">
                      <a16:colId xmlns:a16="http://schemas.microsoft.com/office/drawing/2014/main" val="1658635604"/>
                    </a:ext>
                  </a:extLst>
                </a:gridCol>
              </a:tblGrid>
              <a:tr h="7225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 ПЭ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361014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5550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CC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1" dirty="0" smtClean="0">
                          <a:latin typeface="+mn-lt"/>
                          <a:cs typeface="Arial" panose="020B0604020202020204" pitchFamily="34" charset="0"/>
                        </a:rPr>
                        <a:t>Бимодальная марка ПЭВП</a:t>
                      </a: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. Обладает высоким показателем </a:t>
                      </a:r>
                      <a:r>
                        <a:rPr lang="en-US" sz="800" dirty="0" smtClean="0">
                          <a:latin typeface="+mn-lt"/>
                          <a:cs typeface="Arial" panose="020B0604020202020204" pitchFamily="34" charset="0"/>
                        </a:rPr>
                        <a:t>ESCR</a:t>
                      </a: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. Предназначена для производства укупорочных средств для газированных напитков.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войств марки в рамках ТУ. </a:t>
                      </a: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Несоответствие ожиданиям свойств первого выпуска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3760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0482 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B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Полиэтилен высокой плотности для</a:t>
                      </a:r>
                      <a:r>
                        <a:rPr lang="ru-RU" sz="800" baseline="0" dirty="0" smtClean="0">
                          <a:latin typeface="+mn-lt"/>
                          <a:cs typeface="Arial" panose="020B0604020202020204" pitchFamily="34" charset="0"/>
                        </a:rPr>
                        <a:t> изготовления крупногабаритных  изделий и изделий для расфасовки агрессивных  компонентов,  с высокими показателями стойкости к растрескиванию.</a:t>
                      </a: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3910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 ПП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021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021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021" rtl="0" eaLnBrk="1" fontAlgn="ctr" latinLnBrk="0" hangingPunct="1"/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озможные риски</a:t>
                      </a:r>
                      <a:endParaRPr lang="ru-RU" sz="1100" b="1" i="0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9785775"/>
                  </a:ext>
                </a:extLst>
              </a:tr>
              <a:tr h="36101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ru-RU" sz="11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015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F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Статистический сополимер пропилена с этиленом.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Высокожесткая</a:t>
                      </a:r>
                      <a:r>
                        <a:rPr lang="ru-RU" sz="800" baseline="0" dirty="0" smtClean="0">
                          <a:latin typeface="+mn-lt"/>
                          <a:cs typeface="Arial" panose="020B0604020202020204" pitchFamily="34" charset="0"/>
                        </a:rPr>
                        <a:t> марка для термоформования, пригодна для высокоскоростной переработки без добавления гомополимеров. Высокая прозрачность, повышенная стойкость к удару.</a:t>
                      </a: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4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войств марки в рамках ТУ. </a:t>
                      </a: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4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Несоответствие ожиданиям свойств первого выпуска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  <a:tr h="36101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R015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овое решение для производства выдувных</a:t>
                      </a:r>
                      <a:r>
                        <a:rPr lang="ru-RU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изделий </a:t>
                      </a:r>
                      <a:r>
                        <a:rPr lang="en-US" sz="8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FS</a:t>
                      </a: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(BLOW–FILL-SEAL)  для фармакопеи, характеризуется низкими показателями по миграции.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6654706"/>
                  </a:ext>
                </a:extLst>
              </a:tr>
              <a:tr h="36101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348U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0</a:t>
                      </a:r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локсополимер пропилена с высокими показателями по проливаемости, оптимальное соотношение жесткости и стойкости к удару.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13881095"/>
                  </a:ext>
                </a:extLst>
              </a:tr>
              <a:tr h="36101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Р4445</a:t>
                      </a:r>
                      <a:r>
                        <a:rPr lang="de-DE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dirty="0" smtClean="0">
                          <a:latin typeface="+mn-lt"/>
                          <a:cs typeface="Arial" panose="020B0604020202020204" pitchFamily="34" charset="0"/>
                        </a:rPr>
                        <a:t>Статистический сополимер пропилена с этиленом.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aseline="0" dirty="0" smtClean="0">
                          <a:latin typeface="+mn-lt"/>
                          <a:cs typeface="Arial" panose="020B0604020202020204" pitchFamily="34" charset="0"/>
                        </a:rPr>
                        <a:t>Высокая прозрачность, сбалансированная стойкость к удару.</a:t>
                      </a: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32078387"/>
                  </a:ext>
                </a:extLst>
              </a:tr>
            </a:tbl>
          </a:graphicData>
        </a:graphic>
      </p:graphicFrame>
      <p:pic>
        <p:nvPicPr>
          <p:cNvPr id="7" name="Picture 18" descr="Kristalyviz%2520Closures1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328293" y="4259417"/>
            <a:ext cx="869789" cy="4698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>
            <a:extLst>
              <a:ext uri="{FF2B5EF4-FFF2-40B4-BE49-F238E27FC236}">
                <a16:creationId xmlns:a16="http://schemas.microsoft.com/office/drawing/2014/main" id="{08A33D53-50A6-4A34-AFF9-077428A2B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64" y="4195246"/>
            <a:ext cx="1298070" cy="578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3984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16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лючевые приорите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4"/>
          </p:nvPr>
        </p:nvSpPr>
        <p:spPr>
          <a:xfrm>
            <a:off x="354010" y="1724558"/>
            <a:ext cx="3588069" cy="847192"/>
          </a:xfrm>
        </p:spPr>
        <p:txBody>
          <a:bodyPr/>
          <a:lstStyle/>
          <a:p>
            <a:r>
              <a:rPr lang="ru-RU" dirty="0"/>
              <a:t>Стабильное </a:t>
            </a:r>
            <a:r>
              <a:rPr lang="ru-RU" dirty="0" smtClean="0"/>
              <a:t>производство</a:t>
            </a:r>
            <a:endParaRPr lang="ru-RU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марочного ассортимента</a:t>
            </a:r>
          </a:p>
          <a:p>
            <a:pPr lvl="1"/>
            <a:r>
              <a:rPr lang="ru-RU" b="0" dirty="0" smtClean="0"/>
              <a:t>Достаточные объёмы </a:t>
            </a:r>
            <a:r>
              <a:rPr lang="ru-RU" b="0" dirty="0"/>
              <a:t>производства</a:t>
            </a:r>
          </a:p>
          <a:p>
            <a:endParaRPr lang="ru-RU" b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45"/>
          </p:nvPr>
        </p:nvSpPr>
        <p:spPr>
          <a:xfrm>
            <a:off x="354010" y="3401769"/>
            <a:ext cx="3345904" cy="877801"/>
          </a:xfrm>
        </p:spPr>
        <p:txBody>
          <a:bodyPr/>
          <a:lstStyle/>
          <a:p>
            <a:r>
              <a:rPr lang="ru-RU" dirty="0" smtClean="0"/>
              <a:t>Качество</a:t>
            </a:r>
            <a:endParaRPr lang="ru-RU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качества базовых марок</a:t>
            </a:r>
          </a:p>
          <a:p>
            <a:pPr lvl="1"/>
            <a:r>
              <a:rPr lang="ru-RU" b="0" dirty="0"/>
              <a:t>Стабильное качество специальных </a:t>
            </a:r>
            <a:r>
              <a:rPr lang="ru-RU" b="0" dirty="0" smtClean="0"/>
              <a:t>марок</a:t>
            </a:r>
            <a:endParaRPr lang="ru-RU" b="0" dirty="0"/>
          </a:p>
          <a:p>
            <a:pPr lvl="1"/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6"/>
          </p:nvPr>
        </p:nvSpPr>
        <p:spPr>
          <a:xfrm>
            <a:off x="4572000" y="1724556"/>
            <a:ext cx="3672699" cy="847193"/>
          </a:xfrm>
        </p:spPr>
        <p:txBody>
          <a:bodyPr/>
          <a:lstStyle/>
          <a:p>
            <a:r>
              <a:rPr lang="ru-RU" dirty="0" smtClean="0"/>
              <a:t>Поддержка партнеров</a:t>
            </a:r>
          </a:p>
          <a:p>
            <a:pPr lvl="1"/>
            <a:r>
              <a:rPr lang="ru-RU" b="0" dirty="0" smtClean="0"/>
              <a:t>Альтернативные добавки и </a:t>
            </a:r>
            <a:r>
              <a:rPr lang="ru-RU" b="0" dirty="0" err="1"/>
              <a:t>мастербатчи</a:t>
            </a:r>
            <a:endParaRPr lang="ru-RU" b="0" dirty="0"/>
          </a:p>
          <a:p>
            <a:pPr lvl="1"/>
            <a:r>
              <a:rPr lang="ru-RU" b="0" dirty="0"/>
              <a:t>Рекомендации по ведению переработки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7"/>
          </p:nvPr>
        </p:nvSpPr>
        <p:spPr>
          <a:xfrm>
            <a:off x="4572000" y="3401769"/>
            <a:ext cx="4213225" cy="1010851"/>
          </a:xfrm>
        </p:spPr>
        <p:txBody>
          <a:bodyPr/>
          <a:lstStyle/>
          <a:p>
            <a:r>
              <a:rPr lang="ru-RU" dirty="0" err="1" smtClean="0"/>
              <a:t>Импортозамещение</a:t>
            </a:r>
            <a:endParaRPr lang="ru-RU" dirty="0" smtClean="0"/>
          </a:p>
          <a:p>
            <a:pPr lvl="1"/>
            <a:r>
              <a:rPr lang="ru-RU" b="0" dirty="0" smtClean="0"/>
              <a:t>Рекомендации </a:t>
            </a:r>
            <a:r>
              <a:rPr lang="ru-RU" b="0" dirty="0"/>
              <a:t>по альтернативному сырью СИБУР</a:t>
            </a:r>
          </a:p>
          <a:p>
            <a:pPr lvl="1"/>
            <a:r>
              <a:rPr lang="ru-RU" b="0" dirty="0"/>
              <a:t>Подбор и разработка необходимых рецептур для </a:t>
            </a:r>
            <a:r>
              <a:rPr lang="ru-RU" b="0" dirty="0" smtClean="0"/>
              <a:t>клиента</a:t>
            </a:r>
            <a:endParaRPr lang="ru-RU" b="0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935" y="1196600"/>
            <a:ext cx="468000" cy="468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757" y="2913675"/>
            <a:ext cx="467178" cy="46717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1293221"/>
            <a:ext cx="389112" cy="38911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2913675"/>
            <a:ext cx="452670" cy="452670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 bwMode="auto">
          <a:xfrm>
            <a:off x="4406075" y="1020510"/>
            <a:ext cx="4379149" cy="3530853"/>
          </a:xfrm>
          <a:prstGeom prst="rect">
            <a:avLst/>
          </a:prstGeom>
          <a:noFill/>
          <a:ln w="28575" cap="rnd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743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19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8BE23AF-4F08-4FA0-889A-EAE4292EB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2889" y="347066"/>
            <a:ext cx="8422336" cy="569620"/>
          </a:xfrm>
        </p:spPr>
        <p:txBody>
          <a:bodyPr vert="horz"/>
          <a:lstStyle/>
          <a:p>
            <a:r>
              <a:rPr lang="ru-RU" sz="1800" dirty="0" smtClean="0"/>
              <a:t>Поддержка партнеров:</a:t>
            </a:r>
            <a:r>
              <a:rPr lang="ru-RU" sz="1800" dirty="0"/>
              <a:t> </a:t>
            </a:r>
            <a:r>
              <a:rPr lang="ru-RU" sz="1800" dirty="0" smtClean="0"/>
              <a:t>Подход </a:t>
            </a:r>
            <a:r>
              <a:rPr lang="ru-RU" sz="1800" dirty="0"/>
              <a:t>к </a:t>
            </a:r>
            <a:r>
              <a:rPr lang="ru-RU" sz="1800" dirty="0" smtClean="0"/>
              <a:t>взаимодействию – </a:t>
            </a:r>
            <a:br>
              <a:rPr lang="ru-RU" sz="1800" dirty="0" smtClean="0"/>
            </a:br>
            <a:r>
              <a:rPr lang="ru-RU" sz="1800" dirty="0" smtClean="0"/>
              <a:t>от </a:t>
            </a:r>
            <a:r>
              <a:rPr lang="ru-RU" sz="1800" dirty="0"/>
              <a:t>устной рекомендации до комплексной </a:t>
            </a:r>
            <a:r>
              <a:rPr lang="ru-RU" sz="1800" dirty="0" smtClean="0"/>
              <a:t>программы</a:t>
            </a:r>
            <a:endParaRPr lang="en-GB" sz="1800" dirty="0"/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169970E-0FAD-4B1C-92FF-8DC01ED9CB42}"/>
              </a:ext>
            </a:extLst>
          </p:cNvPr>
          <p:cNvGrpSpPr/>
          <p:nvPr/>
        </p:nvGrpSpPr>
        <p:grpSpPr>
          <a:xfrm>
            <a:off x="343292" y="2512613"/>
            <a:ext cx="8422336" cy="452435"/>
            <a:chOff x="416496" y="991239"/>
            <a:chExt cx="9073008" cy="432048"/>
          </a:xfrm>
          <a:solidFill>
            <a:srgbClr val="77E2C3"/>
          </a:solidFill>
        </p:grpSpPr>
        <p:sp>
          <p:nvSpPr>
            <p:cNvPr id="9" name="Arrow: Chevron 8">
              <a:extLst>
                <a:ext uri="{FF2B5EF4-FFF2-40B4-BE49-F238E27FC236}">
                  <a16:creationId xmlns:a16="http://schemas.microsoft.com/office/drawing/2014/main" id="{941010E6-762E-44F4-B143-E11B9BCC4C1A}"/>
                </a:ext>
              </a:extLst>
            </p:cNvPr>
            <p:cNvSpPr/>
            <p:nvPr/>
          </p:nvSpPr>
          <p:spPr bwMode="auto">
            <a:xfrm>
              <a:off x="416496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>
                  <a:solidFill>
                    <a:srgbClr val="003D4C"/>
                  </a:solidFill>
                  <a:latin typeface="Arial" charset="0"/>
                </a:rPr>
                <a:t>З</a:t>
              </a: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апрос от клиента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0" name="Arrow: Chevron 9">
              <a:extLst>
                <a:ext uri="{FF2B5EF4-FFF2-40B4-BE49-F238E27FC236}">
                  <a16:creationId xmlns:a16="http://schemas.microsoft.com/office/drawing/2014/main" id="{3A9A6E99-FD1B-4203-8D3A-C5A364AA540C}"/>
                </a:ext>
              </a:extLst>
            </p:cNvPr>
            <p:cNvSpPr/>
            <p:nvPr/>
          </p:nvSpPr>
          <p:spPr bwMode="auto">
            <a:xfrm>
              <a:off x="1903605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Планирование и организация работ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id="{38F7A1E4-EB72-4206-BD67-26F73509B17C}"/>
                </a:ext>
              </a:extLst>
            </p:cNvPr>
            <p:cNvSpPr/>
            <p:nvPr/>
          </p:nvSpPr>
          <p:spPr bwMode="auto">
            <a:xfrm>
              <a:off x="3390714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Разработка решения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2" name="Arrow: Chevron 11">
              <a:extLst>
                <a:ext uri="{FF2B5EF4-FFF2-40B4-BE49-F238E27FC236}">
                  <a16:creationId xmlns:a16="http://schemas.microsoft.com/office/drawing/2014/main" id="{982CFBFC-2736-45FC-8063-D30EF8596922}"/>
                </a:ext>
              </a:extLst>
            </p:cNvPr>
            <p:cNvSpPr/>
            <p:nvPr/>
          </p:nvSpPr>
          <p:spPr bwMode="auto">
            <a:xfrm>
              <a:off x="4877823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Омологация у клиента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3" name="Arrow: Chevron 12">
              <a:extLst>
                <a:ext uri="{FF2B5EF4-FFF2-40B4-BE49-F238E27FC236}">
                  <a16:creationId xmlns:a16="http://schemas.microsoft.com/office/drawing/2014/main" id="{467E43AB-C4AD-4A88-92A3-D05406B5E257}"/>
                </a:ext>
              </a:extLst>
            </p:cNvPr>
            <p:cNvSpPr/>
            <p:nvPr/>
          </p:nvSpPr>
          <p:spPr bwMode="auto">
            <a:xfrm>
              <a:off x="6364932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Омологация у конечного потребителя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  <p:sp>
          <p:nvSpPr>
            <p:cNvPr id="14" name="Arrow: Chevron 13">
              <a:extLst>
                <a:ext uri="{FF2B5EF4-FFF2-40B4-BE49-F238E27FC236}">
                  <a16:creationId xmlns:a16="http://schemas.microsoft.com/office/drawing/2014/main" id="{7C3A4CDB-2D3B-4D63-B4C0-4719EEACA3EB}"/>
                </a:ext>
              </a:extLst>
            </p:cNvPr>
            <p:cNvSpPr/>
            <p:nvPr/>
          </p:nvSpPr>
          <p:spPr bwMode="auto">
            <a:xfrm>
              <a:off x="7852041" y="991239"/>
              <a:ext cx="1637463" cy="432048"/>
            </a:xfrm>
            <a:prstGeom prst="chevron">
              <a:avLst/>
            </a:prstGeom>
            <a:grp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34290" rIns="0" bIns="3429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sz="900" b="1" dirty="0" smtClean="0">
                  <a:solidFill>
                    <a:srgbClr val="003D4C"/>
                  </a:solidFill>
                  <a:latin typeface="Arial" charset="0"/>
                </a:rPr>
                <a:t>Успешное внедрение</a:t>
              </a:r>
              <a:endParaRPr lang="en-GB" sz="900" b="1" dirty="0">
                <a:solidFill>
                  <a:srgbClr val="003D4C"/>
                </a:solidFill>
                <a:latin typeface="Arial" charset="0"/>
              </a:endParaRPr>
            </a:p>
          </p:txBody>
        </p:sp>
      </p:grp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 flipV="1">
            <a:off x="539350" y="1292743"/>
            <a:ext cx="0" cy="1224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07187" y="1194446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686077" y="1038163"/>
            <a:ext cx="2174248" cy="65178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Анализ и категоризация запроса:</a:t>
            </a:r>
          </a:p>
          <a:p>
            <a:pPr marL="171450" indent="-171450" defTabSz="685800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замена на доступный аналог</a:t>
            </a:r>
          </a:p>
          <a:p>
            <a:pPr marL="171450" indent="-171450" defTabSz="685800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подбор альтернативного решения</a:t>
            </a:r>
          </a:p>
          <a:p>
            <a:pPr marL="171450" indent="-171450" defTabSz="685800" fontAlgn="base">
              <a:spcBef>
                <a:spcPct val="0"/>
              </a:spcBef>
              <a:spcAft>
                <a:spcPct val="0"/>
              </a:spcAft>
              <a:buFontTx/>
              <a:buChar char="-"/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разработка нового решения</a:t>
            </a:r>
          </a:p>
        </p:txBody>
      </p:sp>
      <p:cxnSp>
        <p:nvCxnSpPr>
          <p:cNvPr id="40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>
            <a:off x="1902502" y="2965048"/>
            <a:ext cx="0" cy="1329612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1767497" y="326201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43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2071169" y="3217784"/>
            <a:ext cx="1841625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Формирование команды (СИБУР и клиент)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cxnSp>
        <p:nvCxnSpPr>
          <p:cNvPr id="65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3231431" y="1042827"/>
            <a:ext cx="0" cy="1476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1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>
            <a:off x="4624246" y="2965048"/>
            <a:ext cx="0" cy="1208273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3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489241" y="3285769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74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4759251" y="3220782"/>
            <a:ext cx="1783267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Сопровождение и </a:t>
            </a:r>
            <a:endParaRPr lang="en-US" sz="900" dirty="0" smtClean="0">
              <a:solidFill>
                <a:srgbClr val="003D4C"/>
              </a:solidFill>
              <a:latin typeface="Arial" charset="0"/>
            </a:endParaRP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техническая поддержк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76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1767497" y="4238431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77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2073519" y="4173321"/>
            <a:ext cx="1824272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Разработка и утверждение плана работ, определение</a:t>
            </a:r>
          </a:p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зон ответственности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79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489241" y="367252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В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80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4759250" y="3607679"/>
            <a:ext cx="159966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Анализ свойств и качеств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82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489241" y="403926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83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4759252" y="3991492"/>
            <a:ext cx="1789504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Совместное заключение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cxnSp>
        <p:nvCxnSpPr>
          <p:cNvPr id="86" name="Straight Connector 22">
            <a:extLst>
              <a:ext uri="{FF2B5EF4-FFF2-40B4-BE49-F238E27FC236}">
                <a16:creationId xmlns:a16="http://schemas.microsoft.com/office/drawing/2014/main" id="{DACB34B8-6B12-4120-979C-AE317D58321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6092120" y="1334402"/>
            <a:ext cx="0" cy="118800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8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5957115" y="1260014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89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211073" y="1205565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Поддержка согласования </a:t>
            </a:r>
            <a:r>
              <a:rPr lang="ru-RU" sz="900" b="1" dirty="0">
                <a:solidFill>
                  <a:srgbClr val="003D4C"/>
                </a:solidFill>
                <a:latin typeface="Arial" charset="0"/>
              </a:rPr>
              <a:t>изменений свойств </a:t>
            </a: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продукта</a:t>
            </a:r>
            <a:endParaRPr lang="en-GB" sz="900" b="1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58" name="Title 1">
            <a:extLst>
              <a:ext uri="{FF2B5EF4-FFF2-40B4-BE49-F238E27FC236}">
                <a16:creationId xmlns:a16="http://schemas.microsoft.com/office/drawing/2014/main" id="{C8BE23AF-4F08-4FA0-889A-EAE4292EB1F2}"/>
              </a:ext>
            </a:extLst>
          </p:cNvPr>
          <p:cNvSpPr txBox="1">
            <a:spLocks/>
          </p:cNvSpPr>
          <p:nvPr/>
        </p:nvSpPr>
        <p:spPr>
          <a:xfrm>
            <a:off x="279663" y="941955"/>
            <a:ext cx="8655371" cy="56962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1425" b="1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ru-RU" sz="1800" kern="0" dirty="0"/>
          </a:p>
        </p:txBody>
      </p:sp>
      <p:sp>
        <p:nvSpPr>
          <p:cNvPr id="61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1767497" y="3735786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>
                <a:solidFill>
                  <a:srgbClr val="008C95"/>
                </a:solidFill>
                <a:latin typeface="Arial" charset="0"/>
              </a:rPr>
              <a:t>В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62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>
            <a:off x="2089994" y="3665374"/>
            <a:ext cx="1824271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Определение формата взаимодействия (встречи, командировки)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9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1407579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8C95"/>
                </a:solidFill>
                <a:latin typeface="Arial" charset="0"/>
              </a:rPr>
              <a:t>B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00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49226" y="1353573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Проверка альтернатив и рецептурных решений в </a:t>
            </a:r>
            <a:r>
              <a:rPr lang="ru-RU" sz="900" b="1" dirty="0" err="1" smtClean="0">
                <a:solidFill>
                  <a:srgbClr val="003D4C"/>
                </a:solidFill>
                <a:latin typeface="Arial" charset="0"/>
              </a:rPr>
              <a:t>ПолиЛаб</a:t>
            </a:r>
            <a:endParaRPr lang="en-GB" sz="900" b="1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02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2129339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>
                <a:solidFill>
                  <a:srgbClr val="008C95"/>
                </a:solidFill>
                <a:latin typeface="Arial" charset="0"/>
              </a:rPr>
              <a:t>D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03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50689" y="2075333"/>
            <a:ext cx="1504158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Выдача технического решения (рекомендаций)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08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1042680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А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09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52568" y="988674"/>
            <a:ext cx="150227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Проведение поисковых работ 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23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05289" y="1720996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dirty="0" smtClean="0">
                <a:solidFill>
                  <a:srgbClr val="008C95"/>
                </a:solidFill>
                <a:latin typeface="Arial" charset="0"/>
              </a:rPr>
              <a:t>B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24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59760" y="1666990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3D4C"/>
                </a:solidFill>
                <a:latin typeface="Arial" charset="0"/>
              </a:rPr>
              <a:t>Необходимая открытость для сложных кейсов</a:t>
            </a:r>
            <a:endParaRPr lang="en-GB" sz="900" b="1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126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3096426" y="1766511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127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3349226" y="1712505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Разработка новой марки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67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406334" y="2101475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68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60805" y="2047469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Анализ ассортимента клиент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1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5957115" y="1700182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В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92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211073" y="1626517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Экспертная поддержка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  <p:sp>
        <p:nvSpPr>
          <p:cNvPr id="94" name="Oval 24">
            <a:extLst>
              <a:ext uri="{FF2B5EF4-FFF2-40B4-BE49-F238E27FC236}">
                <a16:creationId xmlns:a16="http://schemas.microsoft.com/office/drawing/2014/main" id="{2A966880-0A49-4DE8-990B-E268C35FF65F}"/>
              </a:ext>
            </a:extLst>
          </p:cNvPr>
          <p:cNvSpPr>
            <a:spLocks noChangeAspect="1"/>
          </p:cNvSpPr>
          <p:nvPr/>
        </p:nvSpPr>
        <p:spPr bwMode="auto">
          <a:xfrm>
            <a:off x="5957115" y="2121134"/>
            <a:ext cx="270010" cy="270030"/>
          </a:xfrm>
          <a:prstGeom prst="ellipse">
            <a:avLst/>
          </a:prstGeom>
          <a:solidFill>
            <a:schemeClr val="bg1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algn="ctr"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8C95"/>
                </a:solidFill>
                <a:latin typeface="Arial" charset="0"/>
              </a:rPr>
              <a:t>С</a:t>
            </a:r>
            <a:endParaRPr lang="en-GB" sz="900" b="1" dirty="0">
              <a:solidFill>
                <a:srgbClr val="008C95"/>
              </a:solidFill>
              <a:latin typeface="Arial" charset="0"/>
            </a:endParaRPr>
          </a:p>
        </p:txBody>
      </p:sp>
      <p:sp>
        <p:nvSpPr>
          <p:cNvPr id="95" name="Rectangle 28">
            <a:extLst>
              <a:ext uri="{FF2B5EF4-FFF2-40B4-BE49-F238E27FC236}">
                <a16:creationId xmlns:a16="http://schemas.microsoft.com/office/drawing/2014/main" id="{0F80EEC4-6ABA-4949-A005-1428F9E732E6}"/>
              </a:ext>
            </a:extLst>
          </p:cNvPr>
          <p:cNvSpPr/>
          <p:nvPr/>
        </p:nvSpPr>
        <p:spPr bwMode="auto">
          <a:xfrm flipH="1">
            <a:off x="6212062" y="2047469"/>
            <a:ext cx="1846649" cy="37804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68580" tIns="34290" rIns="68580" bIns="34290" numCol="1" rtlCol="0" anchor="ctr" anchorCtr="0" compatLnSpc="1">
            <a:prstTxWarp prst="textNoShape">
              <a:avLst/>
            </a:prstTxWarp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dirty="0" smtClean="0">
                <a:solidFill>
                  <a:srgbClr val="003D4C"/>
                </a:solidFill>
                <a:latin typeface="Arial" charset="0"/>
              </a:rPr>
              <a:t>Продвижение совместного решения</a:t>
            </a:r>
            <a:endParaRPr lang="en-GB" sz="900" dirty="0">
              <a:solidFill>
                <a:srgbClr val="003D4C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0336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4572" y="62563"/>
            <a:ext cx="8426451" cy="548932"/>
          </a:xfrm>
        </p:spPr>
        <p:txBody>
          <a:bodyPr/>
          <a:lstStyle/>
          <a:p>
            <a:r>
              <a:rPr lang="ru-RU" dirty="0" smtClean="0"/>
              <a:t>Примеры взаимодействия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115886" y="4899681"/>
            <a:ext cx="5317841" cy="200732"/>
          </a:xfrm>
        </p:spPr>
        <p:txBody>
          <a:bodyPr/>
          <a:lstStyle/>
          <a:p>
            <a:r>
              <a:rPr lang="ru-RU" dirty="0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323361" y="466226"/>
            <a:ext cx="879161" cy="321848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bg1"/>
                </a:solidFill>
                <a:latin typeface="Arial" charset="0"/>
              </a:rPr>
              <a:t>Партнер 1</a:t>
            </a:r>
            <a:endParaRPr lang="ru-RU" sz="11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2759506" y="1030709"/>
            <a:ext cx="1678000" cy="74491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Решение</a:t>
            </a:r>
            <a:r>
              <a:rPr kumimoji="0" lang="ru-RU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 СИБУР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Аналог №1</a:t>
            </a:r>
            <a:r>
              <a:rPr lang="en-US" sz="1100" dirty="0">
                <a:latin typeface="Arial" charset="0"/>
              </a:rPr>
              <a:t>:</a:t>
            </a:r>
            <a:br>
              <a:rPr lang="en-US" sz="1100" dirty="0">
                <a:latin typeface="Arial" charset="0"/>
              </a:rPr>
            </a:br>
            <a:r>
              <a:rPr lang="en-US" sz="1100" dirty="0">
                <a:latin typeface="Arial" charset="0"/>
              </a:rPr>
              <a:t>AOE-5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latin typeface="Arial" charset="0"/>
              </a:rPr>
              <a:t>www.bestpolybatch.com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2925522" y="423559"/>
            <a:ext cx="3163705" cy="411864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latin typeface="Arial" charset="0"/>
              </a:rPr>
              <a:t>Нехватка </a:t>
            </a:r>
            <a:r>
              <a:rPr lang="ru-RU" sz="1100" dirty="0" smtClean="0">
                <a:latin typeface="Arial" charset="0"/>
              </a:rPr>
              <a:t>полимерной добавки </a:t>
            </a:r>
            <a:r>
              <a:rPr lang="en-US" sz="1100" dirty="0">
                <a:latin typeface="Arial" charset="0"/>
              </a:rPr>
              <a:t>CESA-NOX </a:t>
            </a:r>
            <a:r>
              <a:rPr lang="en-US" sz="1100" dirty="0" smtClean="0">
                <a:latin typeface="Arial" charset="0"/>
              </a:rPr>
              <a:t>4102</a:t>
            </a:r>
            <a:r>
              <a:rPr lang="ru-RU" sz="1100" dirty="0" smtClean="0">
                <a:latin typeface="Arial" charset="0"/>
              </a:rPr>
              <a:t> (100 кг/месяц)</a:t>
            </a:r>
            <a:endParaRPr kumimoji="0" lang="ru-RU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67" name="Соединительная линия уступом 66"/>
          <p:cNvCxnSpPr>
            <a:stCxn id="5" idx="3"/>
            <a:endCxn id="11" idx="1"/>
          </p:cNvCxnSpPr>
          <p:nvPr/>
        </p:nvCxnSpPr>
        <p:spPr bwMode="auto">
          <a:xfrm>
            <a:off x="2202522" y="627150"/>
            <a:ext cx="723000" cy="234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Соединительная линия уступом 66"/>
          <p:cNvCxnSpPr>
            <a:stCxn id="11" idx="2"/>
            <a:endCxn id="8" idx="0"/>
          </p:cNvCxnSpPr>
          <p:nvPr/>
        </p:nvCxnSpPr>
        <p:spPr bwMode="auto">
          <a:xfrm flipH="1">
            <a:off x="3598506" y="835423"/>
            <a:ext cx="908869" cy="1952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Соединительная линия уступом 66"/>
          <p:cNvCxnSpPr>
            <a:stCxn id="11" idx="2"/>
            <a:endCxn id="42" idx="0"/>
          </p:cNvCxnSpPr>
          <p:nvPr/>
        </p:nvCxnSpPr>
        <p:spPr bwMode="auto">
          <a:xfrm>
            <a:off x="4507375" y="835423"/>
            <a:ext cx="922534" cy="19528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2" name="Прямоугольник 41"/>
          <p:cNvSpPr/>
          <p:nvPr/>
        </p:nvSpPr>
        <p:spPr bwMode="auto">
          <a:xfrm>
            <a:off x="4702005" y="1030709"/>
            <a:ext cx="1455807" cy="744917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>
                <a:latin typeface="Arial" charset="0"/>
              </a:rPr>
              <a:t>Решение СИБУР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Аналог №</a:t>
            </a:r>
            <a:r>
              <a:rPr kumimoji="0" lang="en-US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2</a:t>
            </a:r>
            <a:r>
              <a:rPr lang="en-US" sz="1100" dirty="0" smtClean="0">
                <a:latin typeface="Arial" charset="0"/>
              </a:rPr>
              <a:t>:</a:t>
            </a:r>
            <a:r>
              <a:rPr lang="en-US" sz="1100" dirty="0">
                <a:latin typeface="Arial" charset="0"/>
              </a:rPr>
              <a:t/>
            </a:r>
            <a:br>
              <a:rPr lang="en-US" sz="1100" dirty="0">
                <a:latin typeface="Arial" charset="0"/>
              </a:rPr>
            </a:br>
            <a:r>
              <a:rPr lang="en-US" sz="1100" dirty="0">
                <a:latin typeface="Arial" charset="0"/>
              </a:rPr>
              <a:t>A-Len Tech XP10TY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latin typeface="Arial" charset="0"/>
              </a:rPr>
              <a:t>www.alenmel.ru</a:t>
            </a:r>
            <a:endParaRPr lang="en-US" sz="1100" dirty="0">
              <a:latin typeface="Arial" charset="0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636482" y="1946675"/>
            <a:ext cx="1010377" cy="30997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Arial" charset="0"/>
              </a:rPr>
              <a:t>Партнер</a:t>
            </a:r>
            <a:r>
              <a:rPr lang="ru-RU" sz="1000" b="1" dirty="0">
                <a:solidFill>
                  <a:schemeClr val="bg1"/>
                </a:solidFill>
                <a:latin typeface="Arial" charset="0"/>
              </a:rPr>
              <a:t> </a:t>
            </a:r>
            <a:r>
              <a:rPr lang="ru-RU" sz="1000" b="1" dirty="0" smtClean="0">
                <a:solidFill>
                  <a:schemeClr val="bg1"/>
                </a:solidFill>
                <a:latin typeface="Arial" charset="0"/>
              </a:rPr>
              <a:t>2</a:t>
            </a:r>
            <a:endParaRPr lang="ru-RU" sz="10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2759506" y="1960868"/>
            <a:ext cx="1000519" cy="327526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Arial" charset="0"/>
              </a:rPr>
              <a:t>Партнер </a:t>
            </a:r>
            <a:r>
              <a:rPr lang="ru-RU" sz="1100" b="1" dirty="0" smtClean="0">
                <a:solidFill>
                  <a:schemeClr val="bg1"/>
                </a:solidFill>
                <a:latin typeface="Arial" charset="0"/>
              </a:rPr>
              <a:t>3</a:t>
            </a:r>
            <a:endParaRPr lang="ru-RU" sz="11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200897" y="2440026"/>
            <a:ext cx="1881548" cy="503402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algn="ctr" fontAlgn="ctr"/>
            <a:r>
              <a:rPr lang="ru-RU" sz="1100" dirty="0"/>
              <a:t>Нехватка </a:t>
            </a:r>
            <a:r>
              <a:rPr lang="ru-RU" sz="1100" dirty="0" smtClean="0"/>
              <a:t>полимера</a:t>
            </a:r>
            <a:endParaRPr lang="en-US" sz="1100" dirty="0" smtClean="0"/>
          </a:p>
          <a:p>
            <a:pPr algn="ctr" fontAlgn="ctr"/>
            <a:r>
              <a:rPr lang="en-US" sz="1100" dirty="0" err="1" smtClean="0">
                <a:solidFill>
                  <a:schemeClr val="dk1"/>
                </a:solidFill>
                <a:cs typeface="Arial" panose="020B0604020202020204" pitchFamily="34" charset="0"/>
              </a:rPr>
              <a:t>BorPure</a:t>
            </a:r>
            <a:r>
              <a:rPr lang="en-US" sz="1100" dirty="0" smtClean="0">
                <a:solidFill>
                  <a:schemeClr val="dk1"/>
                </a:solidFill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dk1"/>
                </a:solidFill>
                <a:cs typeface="Arial" panose="020B0604020202020204" pitchFamily="34" charset="0"/>
              </a:rPr>
              <a:t>MB6561</a:t>
            </a:r>
          </a:p>
        </p:txBody>
      </p:sp>
      <p:sp>
        <p:nvSpPr>
          <p:cNvPr id="25" name="Прямоугольник 24"/>
          <p:cNvSpPr/>
          <p:nvPr/>
        </p:nvSpPr>
        <p:spPr bwMode="auto">
          <a:xfrm>
            <a:off x="2321053" y="2440026"/>
            <a:ext cx="1881548" cy="503402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algn="ctr" fontAlgn="ctr"/>
            <a:r>
              <a:rPr lang="ru-RU" sz="1100" dirty="0"/>
              <a:t>Нехватка </a:t>
            </a:r>
            <a:r>
              <a:rPr lang="ru-RU" sz="1100" dirty="0" smtClean="0"/>
              <a:t>полимера</a:t>
            </a:r>
            <a:endParaRPr lang="en-US" sz="1100" dirty="0" smtClean="0"/>
          </a:p>
          <a:p>
            <a:pPr algn="ctr" fontAlgn="ctr"/>
            <a:r>
              <a:rPr lang="en-US" sz="1100" dirty="0" err="1" smtClean="0">
                <a:solidFill>
                  <a:schemeClr val="dk1"/>
                </a:solidFill>
                <a:cs typeface="Arial" panose="020B0604020202020204" pitchFamily="34" charset="0"/>
              </a:rPr>
              <a:t>Lutene</a:t>
            </a:r>
            <a:r>
              <a:rPr lang="en-US" sz="1100" dirty="0" smtClean="0">
                <a:solidFill>
                  <a:schemeClr val="dk1"/>
                </a:solidFill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dk1"/>
                </a:solidFill>
                <a:cs typeface="Arial" panose="020B0604020202020204" pitchFamily="34" charset="0"/>
              </a:rPr>
              <a:t>H ME2500</a:t>
            </a:r>
          </a:p>
        </p:txBody>
      </p:sp>
      <p:sp>
        <p:nvSpPr>
          <p:cNvPr id="26" name="Прямоугольник 25"/>
          <p:cNvSpPr/>
          <p:nvPr/>
        </p:nvSpPr>
        <p:spPr bwMode="auto">
          <a:xfrm>
            <a:off x="1468364" y="3103155"/>
            <a:ext cx="1468316" cy="733488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Решение</a:t>
            </a:r>
            <a:r>
              <a:rPr kumimoji="0" lang="ru-RU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СИБУР</a:t>
            </a:r>
            <a:r>
              <a:rPr kumimoji="0" lang="en-US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:</a:t>
            </a:r>
            <a:endParaRPr kumimoji="0" lang="ru-RU" sz="110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Аналог</a:t>
            </a:r>
            <a:r>
              <a:rPr kumimoji="0" lang="ru-RU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- </a:t>
            </a:r>
            <a:r>
              <a:rPr lang="en-US" sz="1100" dirty="0" smtClean="0"/>
              <a:t>HD15550 CC</a:t>
            </a:r>
            <a:r>
              <a:rPr lang="ru-RU" sz="1100" dirty="0" smtClean="0"/>
              <a:t/>
            </a:r>
            <a:br>
              <a:rPr lang="ru-RU" sz="1100" dirty="0" smtClean="0"/>
            </a:br>
            <a:r>
              <a:rPr lang="en-US" sz="1100" dirty="0" smtClean="0"/>
              <a:t>www.sibur.ru</a:t>
            </a:r>
            <a:endParaRPr kumimoji="0" lang="ru-RU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30" name="Соединительная линия уступом 66"/>
          <p:cNvCxnSpPr>
            <a:stCxn id="20" idx="2"/>
            <a:endCxn id="23" idx="0"/>
          </p:cNvCxnSpPr>
          <p:nvPr/>
        </p:nvCxnSpPr>
        <p:spPr bwMode="auto">
          <a:xfrm>
            <a:off x="1141671" y="2256645"/>
            <a:ext cx="0" cy="183381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Соединительная линия уступом 66"/>
          <p:cNvCxnSpPr>
            <a:stCxn id="21" idx="2"/>
            <a:endCxn id="25" idx="0"/>
          </p:cNvCxnSpPr>
          <p:nvPr/>
        </p:nvCxnSpPr>
        <p:spPr bwMode="auto">
          <a:xfrm>
            <a:off x="3259766" y="2288394"/>
            <a:ext cx="2061" cy="15163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8" name="Соединительная линия уступом 66"/>
          <p:cNvCxnSpPr>
            <a:stCxn id="23" idx="2"/>
            <a:endCxn id="26" idx="0"/>
          </p:cNvCxnSpPr>
          <p:nvPr/>
        </p:nvCxnSpPr>
        <p:spPr bwMode="auto">
          <a:xfrm>
            <a:off x="1141671" y="2943428"/>
            <a:ext cx="1060851" cy="1597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1" name="Соединительная линия уступом 66"/>
          <p:cNvCxnSpPr>
            <a:stCxn id="25" idx="2"/>
            <a:endCxn id="26" idx="0"/>
          </p:cNvCxnSpPr>
          <p:nvPr/>
        </p:nvCxnSpPr>
        <p:spPr bwMode="auto">
          <a:xfrm flipH="1">
            <a:off x="2202522" y="2943428"/>
            <a:ext cx="1059305" cy="15972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Прямоугольник 27"/>
          <p:cNvSpPr/>
          <p:nvPr/>
        </p:nvSpPr>
        <p:spPr bwMode="auto">
          <a:xfrm>
            <a:off x="4437506" y="1928826"/>
            <a:ext cx="923867" cy="3029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Arial" charset="0"/>
              </a:rPr>
              <a:t>Партнер 4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5762447" y="1920273"/>
            <a:ext cx="984001" cy="311059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Arial" charset="0"/>
              </a:rPr>
              <a:t>Партнер </a:t>
            </a:r>
            <a:r>
              <a:rPr lang="ru-RU" sz="1100" b="1" dirty="0" smtClean="0">
                <a:solidFill>
                  <a:schemeClr val="bg1"/>
                </a:solidFill>
                <a:latin typeface="Arial" charset="0"/>
              </a:rPr>
              <a:t>5</a:t>
            </a:r>
            <a:endParaRPr lang="ru-RU" sz="11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7141665" y="1936981"/>
            <a:ext cx="902633" cy="29474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chemeClr val="bg1"/>
                </a:solidFill>
                <a:latin typeface="Arial" charset="0"/>
              </a:rPr>
              <a:t>Партнер </a:t>
            </a:r>
            <a:r>
              <a:rPr lang="ru-RU" sz="1100" b="1" dirty="0" smtClean="0">
                <a:solidFill>
                  <a:schemeClr val="bg1"/>
                </a:solidFill>
                <a:latin typeface="Arial" charset="0"/>
              </a:rPr>
              <a:t>6</a:t>
            </a:r>
            <a:endParaRPr lang="ru-RU" sz="11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33" name="Прямоугольник 32"/>
          <p:cNvSpPr/>
          <p:nvPr/>
        </p:nvSpPr>
        <p:spPr bwMode="auto">
          <a:xfrm>
            <a:off x="4561286" y="2492634"/>
            <a:ext cx="3386230" cy="40551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 smtClean="0"/>
              <a:t>Нехватка </a:t>
            </a:r>
            <a:r>
              <a:rPr lang="ru-RU" sz="1100" dirty="0" err="1" smtClean="0"/>
              <a:t>суперконцентратов</a:t>
            </a:r>
            <a:r>
              <a:rPr lang="ru-RU" sz="1100" dirty="0" smtClean="0"/>
              <a:t> различного назначения</a:t>
            </a:r>
            <a:endParaRPr kumimoji="0" lang="ru-RU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35" name="Соединительная линия уступом 66"/>
          <p:cNvCxnSpPr>
            <a:stCxn id="28" idx="2"/>
            <a:endCxn id="33" idx="0"/>
          </p:cNvCxnSpPr>
          <p:nvPr/>
        </p:nvCxnSpPr>
        <p:spPr bwMode="auto">
          <a:xfrm>
            <a:off x="4899440" y="2231726"/>
            <a:ext cx="1354961" cy="2609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Соединительная линия уступом 66"/>
          <p:cNvCxnSpPr>
            <a:stCxn id="29" idx="2"/>
            <a:endCxn id="33" idx="0"/>
          </p:cNvCxnSpPr>
          <p:nvPr/>
        </p:nvCxnSpPr>
        <p:spPr bwMode="auto">
          <a:xfrm flipH="1">
            <a:off x="6254401" y="2231332"/>
            <a:ext cx="47" cy="26130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Соединительная линия уступом 66"/>
          <p:cNvCxnSpPr>
            <a:stCxn id="31" idx="2"/>
            <a:endCxn id="33" idx="0"/>
          </p:cNvCxnSpPr>
          <p:nvPr/>
        </p:nvCxnSpPr>
        <p:spPr bwMode="auto">
          <a:xfrm flipH="1">
            <a:off x="6254401" y="2231722"/>
            <a:ext cx="1338581" cy="2609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5" name="Прямоугольник 44"/>
          <p:cNvSpPr/>
          <p:nvPr/>
        </p:nvSpPr>
        <p:spPr bwMode="auto">
          <a:xfrm>
            <a:off x="4561287" y="3017969"/>
            <a:ext cx="3386229" cy="193006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Решение</a:t>
            </a:r>
            <a:r>
              <a:rPr kumimoji="0" lang="ru-RU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СИБУР</a:t>
            </a:r>
            <a:r>
              <a:rPr kumimoji="0" lang="en-US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:</a:t>
            </a:r>
            <a:endParaRPr kumimoji="0" lang="ru-RU" sz="110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kumimoji="0" lang="ru-RU" sz="11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Контакты поставщиков</a:t>
            </a:r>
            <a:r>
              <a:rPr kumimoji="0" lang="ru-RU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возможных аналогов</a:t>
            </a:r>
            <a:br>
              <a:rPr kumimoji="0" lang="ru-RU" sz="11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</a:rPr>
            </a:br>
            <a:r>
              <a:rPr lang="en-US" sz="1100" dirty="0"/>
              <a:t>1. Zibo HOLY </a:t>
            </a:r>
            <a:r>
              <a:rPr lang="en-US" sz="1100" dirty="0" err="1"/>
              <a:t>Masterbatch</a:t>
            </a:r>
            <a:r>
              <a:rPr lang="en-US" sz="1100" dirty="0"/>
              <a:t> </a:t>
            </a:r>
            <a:r>
              <a:rPr lang="en-US" sz="1100" dirty="0" err="1"/>
              <a:t>Co.,Ltd</a:t>
            </a:r>
            <a:endParaRPr lang="en-US" sz="1100" dirty="0"/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/>
              <a:t>2. </a:t>
            </a:r>
            <a:r>
              <a:rPr lang="ru-RU" sz="1100" dirty="0"/>
              <a:t>РФ, </a:t>
            </a:r>
            <a:r>
              <a:rPr lang="ru-RU" sz="1100" dirty="0" err="1" smtClean="0"/>
              <a:t>Гаммапласт</a:t>
            </a:r>
            <a:endParaRPr lang="ru-RU" sz="1100" dirty="0"/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/>
              <a:t>3. Индия, </a:t>
            </a:r>
            <a:r>
              <a:rPr lang="en-US" sz="1100" dirty="0" err="1"/>
              <a:t>Plastiblends</a:t>
            </a:r>
            <a:r>
              <a:rPr lang="en-US" sz="1100" dirty="0"/>
              <a:t> India Limited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/>
              <a:t>4. </a:t>
            </a:r>
            <a:r>
              <a:rPr lang="ru-RU" sz="1100" dirty="0"/>
              <a:t>Международная компания,</a:t>
            </a:r>
            <a:r>
              <a:rPr lang="en-US" sz="1100" dirty="0"/>
              <a:t>Astra Polymers 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/>
              <a:t>5. </a:t>
            </a:r>
            <a:r>
              <a:rPr lang="ru-RU" sz="1100" dirty="0"/>
              <a:t>РФ, БАРС-2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/>
              <a:t>6. Международная компания, ООО "</a:t>
            </a:r>
            <a:r>
              <a:rPr lang="ru-RU" sz="1100" dirty="0" err="1"/>
              <a:t>Глобал</a:t>
            </a:r>
            <a:r>
              <a:rPr lang="ru-RU" sz="1100" dirty="0"/>
              <a:t> </a:t>
            </a:r>
            <a:r>
              <a:rPr lang="ru-RU" sz="1100" dirty="0" err="1"/>
              <a:t>Колорс</a:t>
            </a:r>
            <a:endParaRPr lang="ru-RU" sz="1100" dirty="0"/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100" dirty="0"/>
              <a:t>7. Индия, </a:t>
            </a:r>
            <a:r>
              <a:rPr lang="en-US" sz="1100" dirty="0"/>
              <a:t>Rajiv Plastic Industries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/>
              <a:t>7. </a:t>
            </a:r>
            <a:r>
              <a:rPr lang="ru-RU" sz="1100" dirty="0"/>
              <a:t>Индия, </a:t>
            </a:r>
            <a:r>
              <a:rPr lang="en-US" sz="1100" dirty="0"/>
              <a:t>High Grade Industries</a:t>
            </a:r>
            <a:endParaRPr kumimoji="0" lang="ru-RU" sz="11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cxnSp>
        <p:nvCxnSpPr>
          <p:cNvPr id="46" name="Соединительная линия уступом 66"/>
          <p:cNvCxnSpPr>
            <a:stCxn id="33" idx="2"/>
            <a:endCxn id="45" idx="0"/>
          </p:cNvCxnSpPr>
          <p:nvPr/>
        </p:nvCxnSpPr>
        <p:spPr bwMode="auto">
          <a:xfrm>
            <a:off x="6254401" y="2898144"/>
            <a:ext cx="1" cy="11982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98561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941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995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81666"/>
            <a:ext cx="8426451" cy="617099"/>
          </a:xfrm>
        </p:spPr>
        <p:txBody>
          <a:bodyPr vert="horz"/>
          <a:lstStyle/>
          <a:p>
            <a:pPr algn="ctr"/>
            <a:r>
              <a:rPr lang="ru-RU" dirty="0" smtClean="0"/>
              <a:t>АЛЬТЕРНАТИВНЫЕ МАРКИ ПОЛИМЕРОВ –</a:t>
            </a:r>
            <a:br>
              <a:rPr lang="ru-RU" dirty="0" smtClean="0"/>
            </a:br>
            <a:r>
              <a:rPr lang="ru-RU" dirty="0" smtClean="0"/>
              <a:t>РЕКОМЕНДАЦИИ КЛИЕНТОВ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5703264"/>
              </p:ext>
            </p:extLst>
          </p:nvPr>
        </p:nvGraphicFramePr>
        <p:xfrm>
          <a:off x="358772" y="749917"/>
          <a:ext cx="8369591" cy="36114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89180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2000778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2265447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  <a:gridCol w="2614186">
                  <a:extLst>
                    <a:ext uri="{9D8B030D-6E8A-4147-A177-3AD203B41FA5}">
                      <a16:colId xmlns:a16="http://schemas.microsoft.com/office/drawing/2014/main" val="4259011416"/>
                    </a:ext>
                  </a:extLst>
                </a:gridCol>
              </a:tblGrid>
              <a:tr h="3348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п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полимер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льтернативная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марк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нтакты поставщиков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0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PE</a:t>
                      </a:r>
                      <a:endParaRPr lang="pt-BR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PE KS 10100 U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40552</a:t>
                      </a:r>
                      <a:r>
                        <a:rPr lang="ru-RU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</a:t>
                      </a:r>
                      <a:endParaRPr lang="en-US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  <a:endParaRPr lang="en-US" sz="9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pt-BR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L6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03580</a:t>
                      </a:r>
                      <a:r>
                        <a:rPr lang="ru-RU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B</a:t>
                      </a:r>
                      <a:endParaRPr lang="en-US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pt-BR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2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40552</a:t>
                      </a:r>
                      <a:r>
                        <a:rPr lang="ru-RU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IM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Yanshan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E 2200J</a:t>
                      </a:r>
                      <a:endParaRPr lang="en-US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www.sinopecgroup.com</a:t>
                      </a:r>
                      <a:endParaRPr lang="en-US" sz="9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Pure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MB656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15550 CC</a:t>
                      </a:r>
                      <a:endParaRPr lang="en-US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01955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utene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H ME25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15550 CC</a:t>
                      </a:r>
                      <a:endParaRPr lang="en-US" sz="80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7063600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PE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bic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2201H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 08220</a:t>
                      </a:r>
                      <a:r>
                        <a:rPr lang="ru-RU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80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8184160"/>
                  </a:ext>
                </a:extLst>
              </a:tr>
              <a:tr h="126683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bic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2201H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 08220 +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онцетрат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нтиблока</a:t>
                      </a: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и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нтислипа</a:t>
                      </a:r>
                      <a:endParaRPr kumimoji="0" lang="en-US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593509"/>
                  </a:ext>
                </a:extLst>
              </a:tr>
              <a:tr h="1266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urell PE 3220 D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 03270 B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315883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1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A82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otrene</a:t>
                      </a: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A07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https://www.repsol.com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577753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</a:t>
                      </a:r>
                      <a:r>
                        <a:rPr lang="pt-B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PE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lexirene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MS 40 A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203-2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900" dirty="0" smtClean="0">
                          <a:latin typeface="+mn-lt"/>
                        </a:rPr>
                        <a:t>https://www</a:t>
                      </a:r>
                      <a:r>
                        <a:rPr lang="ru-RU" sz="900" dirty="0" smtClean="0">
                          <a:latin typeface="+mn-lt"/>
                        </a:rPr>
                        <a:t>.</a:t>
                      </a:r>
                      <a:r>
                        <a:rPr lang="en-US" sz="900" dirty="0" smtClean="0">
                          <a:latin typeface="+mn-lt"/>
                        </a:rPr>
                        <a:t>polymir.by</a:t>
                      </a:r>
                      <a:endParaRPr lang="ru-RU" sz="90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6972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L</a:t>
                      </a:r>
                      <a:r>
                        <a:rPr lang="pt-B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PE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bic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611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L 09200 FE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nren</a:t>
                      </a: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N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www.sinopecgroup.co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9852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</a:t>
                      </a: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гомо</a:t>
                      </a:r>
                      <a:endParaRPr lang="pt-BR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ealis HG385M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250 G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35538471"/>
                  </a:ext>
                </a:extLst>
              </a:tr>
              <a:tr h="0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</a:t>
                      </a: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ндом</a:t>
                      </a:r>
                      <a:endParaRPr lang="pt-BR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ealis RF365M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4445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945460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umicene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MR 30MC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4545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008374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B307M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4240GM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0057953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Pure</a:t>
                      </a:r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RG466M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Р4445</a:t>
                      </a: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66371501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en-US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лок</a:t>
                      </a:r>
                      <a:endParaRPr lang="pt-BR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orealis BD950M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7445LM / PP9240M со слип и </a:t>
                      </a:r>
                      <a:r>
                        <a:rPr kumimoji="0" lang="ru-RU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антиблоком</a:t>
                      </a:r>
                      <a:endParaRPr kumimoji="0" lang="en-US" sz="8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  <a:endParaRPr lang="en-US" sz="9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797749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BC245MO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K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5634142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Total </a:t>
                      </a:r>
                      <a:r>
                        <a:rPr lang="ru-RU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РС 9612</a:t>
                      </a:r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P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sibur.ru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592971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Эластомер</a:t>
                      </a:r>
                      <a:endParaRPr lang="pt-BR" sz="105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8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LTEX PKS 38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8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anren</a:t>
                      </a:r>
                      <a:r>
                        <a:rPr kumimoji="0" 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F500EP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www.sinopecgroup.co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0031584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6750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4017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132818"/>
            <a:ext cx="8426451" cy="617099"/>
          </a:xfrm>
        </p:spPr>
        <p:txBody>
          <a:bodyPr vert="horz"/>
          <a:lstStyle/>
          <a:p>
            <a:r>
              <a:rPr lang="ru-RU" dirty="0" smtClean="0"/>
              <a:t>АЛЬТЕРНАТИВНЫЕ МАСТЕРБАТЧИ ФУНКЦИОНАЛЬНЫХ ДОБАВОК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47095875"/>
              </p:ext>
            </p:extLst>
          </p:nvPr>
        </p:nvGraphicFramePr>
        <p:xfrm>
          <a:off x="358773" y="749917"/>
          <a:ext cx="8420746" cy="40214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21046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1459297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1598601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  <a:gridCol w="2301355">
                  <a:extLst>
                    <a:ext uri="{9D8B030D-6E8A-4147-A177-3AD203B41FA5}">
                      <a16:colId xmlns:a16="http://schemas.microsoft.com/office/drawing/2014/main" val="4259011416"/>
                    </a:ext>
                  </a:extLst>
                </a:gridCol>
                <a:gridCol w="2040447">
                  <a:extLst>
                    <a:ext uri="{9D8B030D-6E8A-4147-A177-3AD203B41FA5}">
                      <a16:colId xmlns:a16="http://schemas.microsoft.com/office/drawing/2014/main" val="2367214543"/>
                    </a:ext>
                  </a:extLst>
                </a:gridCol>
              </a:tblGrid>
              <a:tr h="3348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Тип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i="0" u="none" strike="noStrike" baseline="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стербатч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Название мастербатча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Альтернативы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оставщи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Контакты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ucleating masterbatch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 4000061-Е 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mpacet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азличные</a:t>
                      </a:r>
                      <a:r>
                        <a:rPr lang="ru-RU" sz="1050" b="0" i="0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варианты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Ф, </a:t>
                      </a:r>
                      <a:r>
                        <a:rPr lang="ru-RU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Гаммапласт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228600" marR="0" lvl="0" indent="-22860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ндия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lastiblends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India Limited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tra Polymers 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.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Ф, БАРС-2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. ООО "</a:t>
                      </a:r>
                      <a:r>
                        <a:rPr lang="ru-RU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Глобал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Колорс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. Индия,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ajiv Plastic Industries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. 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ндия,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igh Grade Industri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gamma-plast.ru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.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www.plastiblends.com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. </a:t>
                      </a: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astra-polymers.com</a:t>
                      </a:r>
                      <a:endParaRPr lang="ru-RU" sz="1050" b="0" i="0" u="none" strike="noStrike" kern="1200" baseline="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. </a:t>
                      </a: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bars2.com/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.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globalcolors.ru/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.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rajivplastics.com/</a:t>
                      </a:r>
                    </a:p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.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highgrade.in/contact-us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tioxidant masterbatches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ESA-NOX 4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OE-5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hantou best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www.bestpolybatch.co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AO10RW   PP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Jiangsu Fine Polymer material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://www.jlsj.cn/en/contact.asp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40654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 fontAlgn="ctr"/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-Len Tech XP10TY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-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en</a:t>
                      </a:r>
                      <a:endParaRPr lang="en-US" sz="105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alenmel.ru</a:t>
                      </a:r>
                      <a:endParaRPr lang="en-US" sz="105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lip + Antiblock masterbatches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F5841LL 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osaf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д заказ</a:t>
                      </a:r>
                      <a:endParaRPr lang="en-US" sz="1050" b="0" i="0" u="none" strike="noStrike" kern="1200" dirty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арс-2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bars2.com/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801955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lip masterbatches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ехенамид</a:t>
                      </a: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20%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inawax</a:t>
                      </a:r>
                      <a:r>
                        <a:rPr lang="en-US" sz="1050" b="0" i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B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. 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Fineorganics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. Jiangxi 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hilian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New Materials Co.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228600" marR="0" lvl="0" indent="-2286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fineorganics.com</a:t>
                      </a:r>
                      <a:endParaRPr lang="ru-RU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28600" marR="0" lvl="0" indent="-2286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zhilian163.co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81841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tiblock masterbatches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lybatch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B-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GAMMABLOCK </a:t>
                      </a:r>
                      <a:r>
                        <a:rPr kumimoji="0" lang="ru-RU" sz="10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ДАБ 5</a:t>
                      </a: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Ф, </a:t>
                      </a:r>
                      <a:r>
                        <a:rPr lang="ru-RU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Гаммапласт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gamma-plast.ru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593509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urging compound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L9253PE EU (</a:t>
                      </a: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osaf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en-US" sz="1050" dirty="0" smtClean="0">
                          <a:latin typeface="+mn-lt"/>
                        </a:rPr>
                        <a:t>1) Miracle </a:t>
                      </a:r>
                      <a:r>
                        <a:rPr lang="en-US" sz="1050" dirty="0" err="1" smtClean="0">
                          <a:latin typeface="+mn-lt"/>
                        </a:rPr>
                        <a:t>Masterbatch</a:t>
                      </a:r>
                      <a:endParaRPr lang="en-US" sz="1050" dirty="0" smtClean="0">
                        <a:latin typeface="+mn-lt"/>
                      </a:endParaRPr>
                    </a:p>
                    <a:p>
                      <a:pPr algn="l"/>
                      <a:r>
                        <a:rPr lang="en-US" sz="1050" dirty="0" smtClean="0">
                          <a:latin typeface="+mn-lt"/>
                        </a:rPr>
                        <a:t>2) </a:t>
                      </a:r>
                      <a:r>
                        <a:rPr lang="en-US" sz="1050" dirty="0" err="1" smtClean="0">
                          <a:latin typeface="+mn-lt"/>
                        </a:rPr>
                        <a:t>Okapol</a:t>
                      </a:r>
                      <a:endParaRPr lang="ru-RU" sz="105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l"/>
                      <a:r>
                        <a:rPr lang="ru-RU" sz="1050" dirty="0" smtClean="0">
                          <a:latin typeface="+mn-lt"/>
                        </a:rPr>
                        <a:t>1. </a:t>
                      </a:r>
                      <a:r>
                        <a:rPr lang="en-US" sz="1050" dirty="0" smtClean="0">
                          <a:latin typeface="+mn-lt"/>
                        </a:rPr>
                        <a:t>info@miraclemasterbatches.com</a:t>
                      </a:r>
                      <a:endParaRPr lang="ru-RU" sz="1050" dirty="0" smtClean="0">
                        <a:latin typeface="+mn-lt"/>
                      </a:endParaRPr>
                    </a:p>
                    <a:p>
                      <a:pPr algn="l"/>
                      <a:r>
                        <a:rPr lang="ru-RU" sz="1050" dirty="0" smtClean="0">
                          <a:latin typeface="+mn-lt"/>
                        </a:rPr>
                        <a:t>2. </a:t>
                      </a:r>
                      <a:r>
                        <a:rPr lang="en-US" sz="1050" dirty="0" smtClean="0">
                          <a:latin typeface="+mn-lt"/>
                        </a:rPr>
                        <a:t>sales@okapol.ru</a:t>
                      </a:r>
                      <a:endParaRPr lang="ru-RU" sz="105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756972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900" b="1" i="0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упер концентрат </a:t>
                      </a: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L1524P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/>
                      <a:endParaRPr lang="ru-RU" sz="900" dirty="0" smtClean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9852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V filter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A002553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vient</a:t>
                      </a:r>
                      <a:endParaRPr lang="en-US" sz="105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ttps://www.avient.com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794546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580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52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3963844" cy="672627"/>
          </a:xfrm>
        </p:spPr>
        <p:txBody>
          <a:bodyPr vert="horz"/>
          <a:lstStyle/>
          <a:p>
            <a:r>
              <a:rPr lang="ru-RU" dirty="0">
                <a:solidFill>
                  <a:schemeClr val="tx1"/>
                </a:solidFill>
              </a:rPr>
              <a:t>Опросный лист для поиска альтернативного решения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1328401"/>
              </p:ext>
            </p:extLst>
          </p:nvPr>
        </p:nvGraphicFramePr>
        <p:xfrm>
          <a:off x="4716939" y="232685"/>
          <a:ext cx="4069225" cy="451896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024389">
                  <a:extLst>
                    <a:ext uri="{9D8B030D-6E8A-4147-A177-3AD203B41FA5}">
                      <a16:colId xmlns:a16="http://schemas.microsoft.com/office/drawing/2014/main" val="281633527"/>
                    </a:ext>
                  </a:extLst>
                </a:gridCol>
                <a:gridCol w="2044836">
                  <a:extLst>
                    <a:ext uri="{9D8B030D-6E8A-4147-A177-3AD203B41FA5}">
                      <a16:colId xmlns:a16="http://schemas.microsoft.com/office/drawing/2014/main" val="2813323570"/>
                    </a:ext>
                  </a:extLst>
                </a:gridCol>
              </a:tblGrid>
              <a:tr h="20362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Вопрос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</a:rPr>
                        <a:t>Комментарий по заполнению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9427585"/>
                  </a:ext>
                </a:extLst>
              </a:tr>
              <a:tr h="33715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Укажите название Вашей компании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название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184026"/>
                  </a:ext>
                </a:extLst>
              </a:tr>
              <a:tr h="30748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Кто Ваш фронт-менеджер (контактное лицо от </a:t>
                      </a:r>
                      <a:r>
                        <a:rPr lang="ru-RU" sz="800" kern="1200" dirty="0" err="1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СИБУРа</a:t>
                      </a:r>
                      <a:r>
                        <a:rPr lang="ru-RU" sz="8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)?</a:t>
                      </a:r>
                      <a:endParaRPr lang="ru-RU" sz="8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клиент вносит </a:t>
                      </a:r>
                      <a:r>
                        <a:rPr lang="ru-RU" sz="800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ФИО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839969"/>
                  </a:ext>
                </a:extLst>
              </a:tr>
              <a:tr h="790418">
                <a:tc>
                  <a:txBody>
                    <a:bodyPr/>
                    <a:lstStyle/>
                    <a:p>
                      <a:pPr marL="0" marR="0" lvl="0" indent="0" algn="l" defTabSz="77902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С какого рода проблемами столкнулись?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endParaRPr lang="ru-RU" sz="8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 варианта ответов: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Нет возможности купить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Нет возможности привезти в РФ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Нет возможности подобрать аналог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 другое</a:t>
                      </a:r>
                      <a:endParaRPr lang="ru-RU" sz="8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 (тип ответа – множественный выбор)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162851"/>
                  </a:ext>
                </a:extLst>
              </a:tr>
              <a:tr h="101965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С каким типом сырья у Вас возникли сложности</a:t>
                      </a:r>
                      <a:r>
                        <a:rPr lang="ru-RU" sz="800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?</a:t>
                      </a:r>
                      <a:endParaRPr lang="ru-RU" sz="8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Заполняется для каждой проблемной позиции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Если </a:t>
                      </a: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возможно, сделать закрепленные варианты ответов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b="1" i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 </a:t>
                      </a:r>
                      <a:r>
                        <a:rPr lang="ru-RU" sz="800" b="1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варианта ответов:</a:t>
                      </a:r>
                      <a:br>
                        <a:rPr lang="ru-RU" sz="800" b="1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1. полимер</a:t>
                      </a:r>
                      <a:b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2. добавки</a:t>
                      </a:r>
                      <a:b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</a:br>
                      <a:r>
                        <a:rPr lang="ru-RU" sz="800" i="1" kern="1200" dirty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3. другое</a:t>
                      </a:r>
                      <a:endParaRPr lang="ru-RU" sz="800" i="1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7848123"/>
                  </a:ext>
                </a:extLst>
              </a:tr>
              <a:tr h="4706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Сообщите производителя и марку </a:t>
                      </a: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</a:rPr>
                        <a:t>сырья,  </a:t>
                      </a: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с которым у Вас возникли сложности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информацию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2730821"/>
                  </a:ext>
                </a:extLst>
              </a:tr>
              <a:tr h="4706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Укажите потребность в сырье, с которым у Вас возникли сложности (в тоннах в месяц)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информацию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3158709"/>
                  </a:ext>
                </a:extLst>
              </a:tr>
              <a:tr h="4706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Для производства каких изделий Вы используете сырье, с которым возникли сложности? 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информацию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7729616"/>
                  </a:ext>
                </a:extLst>
              </a:tr>
              <a:tr h="33715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</a:rPr>
                        <a:t>Имеются ли у Вас дополнительные комментарии?</a:t>
                      </a:r>
                      <a:endParaRPr lang="ru-RU" sz="9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800" i="1" kern="1200" dirty="0">
                          <a:solidFill>
                            <a:schemeClr val="tx1"/>
                          </a:solidFill>
                          <a:effectLst/>
                        </a:rPr>
                        <a:t>клиент вносит комментарий (по желанию)</a:t>
                      </a:r>
                      <a:endParaRPr lang="ru-RU" sz="800" i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72000" marR="36000" marT="36000" marB="360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7230023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 bwMode="auto">
          <a:xfrm>
            <a:off x="358775" y="3516284"/>
            <a:ext cx="3623504" cy="10092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1200"/>
              </a:spcAft>
            </a:pPr>
            <a:r>
              <a:rPr lang="ru-RU" sz="1200" b="1" dirty="0" smtClean="0">
                <a:solidFill>
                  <a:schemeClr val="tx2"/>
                </a:solidFill>
              </a:rPr>
              <a:t>Для </a:t>
            </a:r>
            <a:r>
              <a:rPr lang="ru-RU" sz="1200" b="1" dirty="0">
                <a:solidFill>
                  <a:schemeClr val="tx2"/>
                </a:solidFill>
              </a:rPr>
              <a:t>этого по каждой позиции необходимо заполнить форму обратной </a:t>
            </a:r>
            <a:r>
              <a:rPr lang="ru-RU" sz="1200" b="1" dirty="0" smtClean="0">
                <a:solidFill>
                  <a:schemeClr val="tx2"/>
                </a:solidFill>
              </a:rPr>
              <a:t>связи</a:t>
            </a:r>
            <a:endParaRPr lang="ru-RU" sz="1200" b="1" dirty="0">
              <a:solidFill>
                <a:schemeClr val="tx2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Мы </a:t>
            </a:r>
            <a:r>
              <a:rPr lang="ru-RU" sz="1200" dirty="0">
                <a:solidFill>
                  <a:schemeClr val="tx2"/>
                </a:solidFill>
              </a:rPr>
              <a:t>примем </a:t>
            </a:r>
            <a:r>
              <a:rPr lang="ru-RU" sz="1200" dirty="0" smtClean="0">
                <a:solidFill>
                  <a:schemeClr val="tx2"/>
                </a:solidFill>
              </a:rPr>
              <a:t>информацию </a:t>
            </a:r>
            <a:r>
              <a:rPr lang="ru-RU" sz="1200" dirty="0">
                <a:solidFill>
                  <a:schemeClr val="tx2"/>
                </a:solidFill>
              </a:rPr>
              <a:t>в проработку, а наши специалисты </a:t>
            </a:r>
            <a:r>
              <a:rPr lang="ru-RU" sz="1200" dirty="0" smtClean="0">
                <a:solidFill>
                  <a:schemeClr val="tx2"/>
                </a:solidFill>
              </a:rPr>
              <a:t>при необходимости </a:t>
            </a:r>
            <a:r>
              <a:rPr lang="ru-RU" sz="1200" dirty="0">
                <a:solidFill>
                  <a:schemeClr val="tx2"/>
                </a:solidFill>
              </a:rPr>
              <a:t>с вами </a:t>
            </a:r>
            <a:r>
              <a:rPr lang="ru-RU" sz="1200" dirty="0" smtClean="0">
                <a:solidFill>
                  <a:schemeClr val="tx2"/>
                </a:solidFill>
              </a:rPr>
              <a:t>свяжутся.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313295" y="3466407"/>
            <a:ext cx="3963844" cy="473826"/>
          </a:xfrm>
          <a:prstGeom prst="rect">
            <a:avLst/>
          </a:prstGeom>
          <a:noFill/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Равнобедренный треугольник 10"/>
          <p:cNvSpPr/>
          <p:nvPr/>
        </p:nvSpPr>
        <p:spPr bwMode="auto">
          <a:xfrm rot="5400000">
            <a:off x="4192331" y="3631320"/>
            <a:ext cx="313617" cy="144000"/>
          </a:xfrm>
          <a:prstGeom prst="triangle">
            <a:avLst/>
          </a:prstGeom>
          <a:solidFill>
            <a:schemeClr val="accent6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58775" y="1109620"/>
            <a:ext cx="3623504" cy="41755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>
              <a:spcAft>
                <a:spcPts val="1200"/>
              </a:spcAft>
            </a:pPr>
            <a:r>
              <a:rPr lang="ru-RU" sz="1200" dirty="0">
                <a:solidFill>
                  <a:schemeClr val="tx2"/>
                </a:solidFill>
              </a:rPr>
              <a:t>Информацию по возникшей проблематике можно </a:t>
            </a:r>
            <a:r>
              <a:rPr lang="ru-RU" sz="1200" dirty="0" smtClean="0">
                <a:solidFill>
                  <a:schemeClr val="tx2"/>
                </a:solidFill>
              </a:rPr>
              <a:t>направить:</a:t>
            </a:r>
            <a:endParaRPr lang="ru-RU" sz="1200" dirty="0">
              <a:solidFill>
                <a:schemeClr val="tx2"/>
              </a:solidFill>
            </a:endParaRPr>
          </a:p>
        </p:txBody>
      </p:sp>
      <p:sp>
        <p:nvSpPr>
          <p:cNvPr id="20" name="Овал 19"/>
          <p:cNvSpPr>
            <a:spLocks noChangeAspect="1"/>
          </p:cNvSpPr>
          <p:nvPr/>
        </p:nvSpPr>
        <p:spPr bwMode="auto">
          <a:xfrm>
            <a:off x="359595" y="1645365"/>
            <a:ext cx="252000" cy="252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Овал 22"/>
          <p:cNvSpPr>
            <a:spLocks noChangeAspect="1"/>
          </p:cNvSpPr>
          <p:nvPr/>
        </p:nvSpPr>
        <p:spPr bwMode="auto">
          <a:xfrm>
            <a:off x="387036" y="2559228"/>
            <a:ext cx="252000" cy="25200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39800" y="1668988"/>
            <a:ext cx="1381026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sz="1200" dirty="0" smtClean="0"/>
              <a:t>в </a:t>
            </a:r>
            <a:r>
              <a:rPr lang="ru-RU" sz="1200" dirty="0"/>
              <a:t>личном кабинете в системе </a:t>
            </a:r>
            <a:r>
              <a:rPr lang="ru-RU" sz="1200" dirty="0" smtClean="0"/>
              <a:t/>
            </a:r>
            <a:br>
              <a:rPr lang="ru-RU" sz="1200" dirty="0" smtClean="0"/>
            </a:br>
            <a:r>
              <a:rPr lang="en-US" sz="1200" dirty="0" smtClean="0"/>
              <a:t>E-commerce</a:t>
            </a:r>
            <a:endParaRPr lang="ru-RU" sz="1200" dirty="0"/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464176" y="2579257"/>
            <a:ext cx="1813288" cy="55399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sz="1200" dirty="0" smtClean="0">
                <a:solidFill>
                  <a:schemeClr val="tx2"/>
                </a:solidFill>
              </a:rPr>
              <a:t>на почту клиентского менеджера отдела продаж</a:t>
            </a:r>
          </a:p>
        </p:txBody>
      </p:sp>
    </p:spTree>
    <p:extLst>
      <p:ext uri="{BB962C8B-B14F-4D97-AF65-F5344CB8AC3E}">
        <p14:creationId xmlns:p14="http://schemas.microsoft.com/office/powerpoint/2010/main" val="1649621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аши контакты в Сибур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17" name="Рисунок 16"/>
          <p:cNvPicPr>
            <a:picLocks noGrp="1" noChangeAspect="1"/>
          </p:cNvPicPr>
          <p:nvPr>
            <p:ph type="pic" sz="quarter" idx="3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17025" y="1128324"/>
            <a:ext cx="1368001" cy="1368000"/>
          </a:xfrm>
        </p:spPr>
      </p:pic>
      <p:pic>
        <p:nvPicPr>
          <p:cNvPr id="18" name="Рисунок 17"/>
          <p:cNvPicPr>
            <a:picLocks noGrp="1" noChangeAspect="1"/>
          </p:cNvPicPr>
          <p:nvPr>
            <p:ph type="pic" sz="quarter" idx="4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91635" y="1128324"/>
            <a:ext cx="1368000" cy="1368000"/>
          </a:xfrm>
        </p:spPr>
      </p:pic>
      <p:sp>
        <p:nvSpPr>
          <p:cNvPr id="12" name="Текст 11"/>
          <p:cNvSpPr>
            <a:spLocks noGrp="1"/>
          </p:cNvSpPr>
          <p:nvPr>
            <p:ph type="body" sz="quarter" idx="45"/>
          </p:nvPr>
        </p:nvSpPr>
        <p:spPr>
          <a:xfrm>
            <a:off x="2517026" y="2620732"/>
            <a:ext cx="1368000" cy="1733550"/>
          </a:xfrm>
        </p:spPr>
        <p:txBody>
          <a:bodyPr vert="horz" lIns="0" tIns="0" rIns="0" bIns="0" rtlCol="0">
            <a:noAutofit/>
          </a:bodyPr>
          <a:lstStyle/>
          <a:p>
            <a:pPr algn="ctr">
              <a:spcAft>
                <a:spcPts val="0"/>
              </a:spcAft>
            </a:pPr>
            <a:r>
              <a:rPr lang="ru-RU" dirty="0" smtClean="0"/>
              <a:t>Безух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Руслан</a:t>
            </a:r>
          </a:p>
          <a:p>
            <a:pPr algn="ctr"/>
            <a:r>
              <a:rPr lang="ru-RU" dirty="0" smtClean="0"/>
              <a:t>Михайлович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Эксперт</a:t>
            </a:r>
          </a:p>
          <a:p>
            <a:pPr algn="ctr">
              <a:spcAft>
                <a:spcPts val="0"/>
              </a:spcAft>
            </a:pPr>
            <a:r>
              <a:rPr lang="ru-RU" sz="900" b="0" dirty="0" smtClean="0"/>
              <a:t>Технический сервис</a:t>
            </a:r>
          </a:p>
          <a:p>
            <a:pPr algn="ctr">
              <a:spcAft>
                <a:spcPts val="0"/>
              </a:spcAft>
            </a:pP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+7 </a:t>
            </a:r>
            <a:r>
              <a:rPr lang="ru-RU" sz="900" b="0" dirty="0" smtClean="0"/>
              <a:t>963 681 28 28</a:t>
            </a: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en-US" sz="900" b="0" dirty="0" smtClean="0"/>
              <a:t>bezukhrm@sibur.ru</a:t>
            </a:r>
            <a:endParaRPr lang="ru-RU" sz="900" b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6"/>
          </p:nvPr>
        </p:nvSpPr>
        <p:spPr>
          <a:xfrm>
            <a:off x="629154" y="2620732"/>
            <a:ext cx="1368000" cy="1733550"/>
          </a:xfrm>
        </p:spPr>
        <p:txBody>
          <a:bodyPr/>
          <a:lstStyle/>
          <a:p>
            <a:pPr algn="ctr">
              <a:spcAft>
                <a:spcPts val="0"/>
              </a:spcAft>
            </a:pPr>
            <a:r>
              <a:rPr lang="ru-RU" dirty="0" smtClean="0"/>
              <a:t>Хапренко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dirty="0" smtClean="0"/>
              <a:t>Владимир</a:t>
            </a:r>
            <a:endParaRPr lang="ru-RU" dirty="0"/>
          </a:p>
          <a:p>
            <a:pPr algn="ctr"/>
            <a:r>
              <a:rPr lang="ru-RU" dirty="0" smtClean="0"/>
              <a:t>Викторович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Эксперт</a:t>
            </a:r>
          </a:p>
          <a:p>
            <a:pPr algn="ctr">
              <a:spcAft>
                <a:spcPts val="0"/>
              </a:spcAft>
            </a:pPr>
            <a:r>
              <a:rPr lang="ru-RU" sz="900" b="0" dirty="0"/>
              <a:t>Технический сервис</a:t>
            </a:r>
          </a:p>
          <a:p>
            <a:pPr algn="ctr">
              <a:spcAft>
                <a:spcPts val="0"/>
              </a:spcAft>
            </a:pP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ru-RU" sz="900" b="0" dirty="0"/>
              <a:t>+7 </a:t>
            </a:r>
            <a:r>
              <a:rPr lang="en-US" sz="900" b="0" dirty="0" smtClean="0"/>
              <a:t>985 990 25 79</a:t>
            </a:r>
            <a:endParaRPr lang="ru-RU" sz="900" b="0" dirty="0"/>
          </a:p>
          <a:p>
            <a:pPr algn="ctr">
              <a:spcAft>
                <a:spcPts val="0"/>
              </a:spcAft>
            </a:pPr>
            <a:r>
              <a:rPr lang="en-US" sz="900" b="0" dirty="0" smtClean="0"/>
              <a:t>khaprenkovv@sibur.ru</a:t>
            </a:r>
            <a:endParaRPr lang="ru-RU" sz="900" b="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020510"/>
            <a:ext cx="1285907" cy="128590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506" y="1100997"/>
            <a:ext cx="381229" cy="398757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5857907" y="1663463"/>
            <a:ext cx="256031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6"/>
              </a:rPr>
              <a:t>https://vk.com/sibur_polylab</a:t>
            </a:r>
            <a:endParaRPr lang="ru-RU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0506" y="2949265"/>
            <a:ext cx="376532" cy="376532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999" y="2790500"/>
            <a:ext cx="1285907" cy="1267406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5910506" y="3536083"/>
            <a:ext cx="256505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u="sng" dirty="0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hlinkClick r:id="rId9"/>
              </a:rPr>
              <a:t>https://t.me/siburpolylab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6713012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012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4" name="Объект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Ключевые приоритеты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44"/>
          </p:nvPr>
        </p:nvSpPr>
        <p:spPr>
          <a:xfrm>
            <a:off x="481335" y="1724558"/>
            <a:ext cx="3588069" cy="847192"/>
          </a:xfrm>
        </p:spPr>
        <p:txBody>
          <a:bodyPr/>
          <a:lstStyle/>
          <a:p>
            <a:r>
              <a:rPr lang="ru-RU" dirty="0"/>
              <a:t>Стабильное </a:t>
            </a:r>
            <a:r>
              <a:rPr lang="ru-RU" dirty="0" smtClean="0"/>
              <a:t>производство</a:t>
            </a:r>
            <a:endParaRPr lang="ru-RU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марочного ассортимента</a:t>
            </a:r>
          </a:p>
          <a:p>
            <a:pPr lvl="1"/>
            <a:r>
              <a:rPr lang="ru-RU" b="0" dirty="0" smtClean="0"/>
              <a:t>Достаточные объёмы </a:t>
            </a:r>
            <a:r>
              <a:rPr lang="ru-RU" b="0" dirty="0"/>
              <a:t>производства</a:t>
            </a:r>
          </a:p>
          <a:p>
            <a:endParaRPr lang="ru-RU" b="0" dirty="0"/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45"/>
          </p:nvPr>
        </p:nvSpPr>
        <p:spPr>
          <a:xfrm>
            <a:off x="481335" y="3401769"/>
            <a:ext cx="3345904" cy="877801"/>
          </a:xfrm>
        </p:spPr>
        <p:txBody>
          <a:bodyPr/>
          <a:lstStyle/>
          <a:p>
            <a:r>
              <a:rPr lang="ru-RU" dirty="0" smtClean="0"/>
              <a:t>Качество</a:t>
            </a:r>
            <a:endParaRPr lang="ru-RU" dirty="0"/>
          </a:p>
          <a:p>
            <a:pPr lvl="1"/>
            <a:r>
              <a:rPr lang="ru-RU" b="0" dirty="0" smtClean="0"/>
              <a:t>Сохранение </a:t>
            </a:r>
            <a:r>
              <a:rPr lang="ru-RU" b="0" dirty="0"/>
              <a:t>качества базовых марок</a:t>
            </a:r>
          </a:p>
          <a:p>
            <a:pPr lvl="1"/>
            <a:r>
              <a:rPr lang="ru-RU" b="0" dirty="0"/>
              <a:t>Стабильное качество специальных </a:t>
            </a:r>
            <a:r>
              <a:rPr lang="ru-RU" b="0" dirty="0" smtClean="0"/>
              <a:t>марок</a:t>
            </a:r>
            <a:endParaRPr lang="ru-RU" b="0" dirty="0"/>
          </a:p>
          <a:p>
            <a:pPr lvl="1"/>
            <a:endParaRPr lang="ru-RU" dirty="0"/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46"/>
          </p:nvPr>
        </p:nvSpPr>
        <p:spPr>
          <a:xfrm>
            <a:off x="4572000" y="1724556"/>
            <a:ext cx="3672699" cy="847193"/>
          </a:xfrm>
        </p:spPr>
        <p:txBody>
          <a:bodyPr/>
          <a:lstStyle/>
          <a:p>
            <a:r>
              <a:rPr lang="ru-RU" dirty="0" smtClean="0"/>
              <a:t>Поддержка партнеров</a:t>
            </a:r>
          </a:p>
          <a:p>
            <a:pPr lvl="1"/>
            <a:r>
              <a:rPr lang="ru-RU" b="0" dirty="0" smtClean="0"/>
              <a:t>Альтернативные добавки и </a:t>
            </a:r>
            <a:r>
              <a:rPr lang="ru-RU" b="0" dirty="0" err="1"/>
              <a:t>мастербатчи</a:t>
            </a:r>
            <a:endParaRPr lang="ru-RU" b="0" dirty="0"/>
          </a:p>
          <a:p>
            <a:pPr lvl="1"/>
            <a:r>
              <a:rPr lang="ru-RU" b="0" dirty="0"/>
              <a:t>Рекомендации по ведению переработки</a:t>
            </a:r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47"/>
          </p:nvPr>
        </p:nvSpPr>
        <p:spPr>
          <a:xfrm>
            <a:off x="4572000" y="3401769"/>
            <a:ext cx="4213225" cy="1010851"/>
          </a:xfrm>
        </p:spPr>
        <p:txBody>
          <a:bodyPr/>
          <a:lstStyle/>
          <a:p>
            <a:r>
              <a:rPr lang="ru-RU" dirty="0" err="1" smtClean="0"/>
              <a:t>Импортозамещение</a:t>
            </a:r>
            <a:endParaRPr lang="ru-RU" dirty="0" smtClean="0"/>
          </a:p>
          <a:p>
            <a:pPr lvl="1"/>
            <a:r>
              <a:rPr lang="ru-RU" b="0" dirty="0" smtClean="0"/>
              <a:t>Рекомендации </a:t>
            </a:r>
            <a:r>
              <a:rPr lang="ru-RU" b="0" dirty="0"/>
              <a:t>по альтернативному сырью СИБУР</a:t>
            </a:r>
          </a:p>
          <a:p>
            <a:pPr lvl="1"/>
            <a:r>
              <a:rPr lang="ru-RU" b="0" dirty="0"/>
              <a:t>Подбор и разработка необходимых рецептур для </a:t>
            </a:r>
            <a:r>
              <a:rPr lang="ru-RU" b="0" dirty="0" smtClean="0"/>
              <a:t>клиента</a:t>
            </a:r>
            <a:endParaRPr lang="ru-RU" b="0" dirty="0"/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260" y="1196600"/>
            <a:ext cx="468000" cy="46800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82" y="2913675"/>
            <a:ext cx="467178" cy="467178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1293221"/>
            <a:ext cx="389112" cy="389112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1586" y="2913675"/>
            <a:ext cx="452670" cy="45267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 bwMode="auto">
          <a:xfrm>
            <a:off x="358776" y="1020510"/>
            <a:ext cx="3379848" cy="3530853"/>
          </a:xfrm>
          <a:prstGeom prst="rect">
            <a:avLst/>
          </a:prstGeom>
          <a:noFill/>
          <a:ln w="28575" cap="rnd" cmpd="sng" algn="ctr">
            <a:solidFill>
              <a:schemeClr val="accent6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6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4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6" name="Прямоугольник 105"/>
          <p:cNvSpPr/>
          <p:nvPr/>
        </p:nvSpPr>
        <p:spPr bwMode="auto">
          <a:xfrm>
            <a:off x="0" y="1020510"/>
            <a:ext cx="4572000" cy="230242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1" name="Прямоугольник 100"/>
          <p:cNvSpPr/>
          <p:nvPr/>
        </p:nvSpPr>
        <p:spPr bwMode="auto">
          <a:xfrm>
            <a:off x="-30181" y="3322930"/>
            <a:ext cx="9174181" cy="122843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Большой объём </a:t>
            </a:r>
            <a:r>
              <a:rPr lang="ru-RU" dirty="0" err="1"/>
              <a:t>омологаций</a:t>
            </a:r>
            <a:r>
              <a:rPr lang="ru-RU" dirty="0"/>
              <a:t> в ближайшие полгода приведёт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к </a:t>
            </a:r>
            <a:r>
              <a:rPr lang="ru-RU" dirty="0"/>
              <a:t>изменениям подхода к тестированию продуктов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10" name="Прямоугольник 9"/>
          <p:cNvSpPr>
            <a:spLocks/>
          </p:cNvSpPr>
          <p:nvPr/>
        </p:nvSpPr>
        <p:spPr bwMode="auto">
          <a:xfrm>
            <a:off x="-30181" y="1621040"/>
            <a:ext cx="3203125" cy="15657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Лабораторное тестирование нового катализатора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Полное тестирование и аттестация используемых добавок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Исследование и подбор лучших рецептур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ОПВ на новом катализаторе и рецептуре добавок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err="1">
                <a:latin typeface="Arial" charset="0"/>
              </a:rPr>
              <a:t>Омологация</a:t>
            </a:r>
            <a:r>
              <a:rPr lang="ru-RU" sz="800" dirty="0">
                <a:latin typeface="Arial" charset="0"/>
              </a:rPr>
              <a:t> в </a:t>
            </a:r>
            <a:r>
              <a:rPr lang="ru-RU" sz="800" dirty="0" err="1">
                <a:latin typeface="Arial" charset="0"/>
              </a:rPr>
              <a:t>Полилаб</a:t>
            </a:r>
            <a:endParaRPr lang="ru-RU" sz="800" dirty="0">
              <a:latin typeface="Arial" charset="0"/>
            </a:endParaRP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Детальный </a:t>
            </a:r>
            <a:r>
              <a:rPr lang="ru-RU" sz="800" dirty="0">
                <a:latin typeface="Arial" charset="0"/>
              </a:rPr>
              <a:t>подбор рекомендаций по переработке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>
                <a:latin typeface="Arial" charset="0"/>
              </a:rPr>
              <a:t>Определение всех характеристик на готовых изделиях 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>
                <a:latin typeface="Arial" charset="0"/>
              </a:rPr>
              <a:t>Тест продукта у клиента</a:t>
            </a:r>
          </a:p>
          <a:p>
            <a:pPr algn="r"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Успешное </a:t>
            </a:r>
            <a:r>
              <a:rPr lang="ru-RU" sz="800" dirty="0">
                <a:latin typeface="Arial" charset="0"/>
              </a:rPr>
              <a:t>внедрение и серийная поставка </a:t>
            </a:r>
            <a:r>
              <a:rPr lang="ru-RU" sz="800" dirty="0" smtClean="0">
                <a:latin typeface="Arial" charset="0"/>
              </a:rPr>
              <a:t>материала</a:t>
            </a:r>
            <a:endParaRPr lang="ru-RU" sz="800" dirty="0">
              <a:latin typeface="Arial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885800" y="1121187"/>
            <a:ext cx="1287145" cy="3664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ru-RU" sz="1200" b="1" dirty="0" smtClean="0">
                <a:solidFill>
                  <a:schemeClr val="tx2"/>
                </a:solidFill>
              </a:rPr>
              <a:t>Обычный цикл </a:t>
            </a:r>
            <a:r>
              <a:rPr lang="ru-RU" sz="1200" b="1" dirty="0" err="1" smtClean="0">
                <a:solidFill>
                  <a:schemeClr val="tx2"/>
                </a:solidFill>
              </a:rPr>
              <a:t>омологации</a:t>
            </a:r>
            <a:endParaRPr lang="ru-RU" sz="1200" b="1" dirty="0" smtClean="0">
              <a:solidFill>
                <a:schemeClr val="tx2"/>
              </a:solidFill>
            </a:endParaRPr>
          </a:p>
        </p:txBody>
      </p:sp>
      <p:sp>
        <p:nvSpPr>
          <p:cNvPr id="17" name="Прямоугольник 16"/>
          <p:cNvSpPr>
            <a:spLocks/>
          </p:cNvSpPr>
          <p:nvPr/>
        </p:nvSpPr>
        <p:spPr bwMode="auto">
          <a:xfrm>
            <a:off x="6503828" y="1604403"/>
            <a:ext cx="2020802" cy="15967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Ускоренное тестирование катализаторов и </a:t>
            </a:r>
            <a:r>
              <a:rPr lang="ru-RU" sz="800" dirty="0" smtClean="0">
                <a:latin typeface="Arial" charset="0"/>
              </a:rPr>
              <a:t>добавок</a:t>
            </a: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ОПВ на новом катализаторе </a:t>
            </a:r>
            <a:r>
              <a:rPr lang="ru-RU" sz="800" dirty="0" smtClean="0">
                <a:latin typeface="Arial" charset="0"/>
              </a:rPr>
              <a:t/>
            </a:r>
            <a:br>
              <a:rPr lang="ru-RU" sz="800" dirty="0" smtClean="0">
                <a:latin typeface="Arial" charset="0"/>
              </a:rPr>
            </a:br>
            <a:r>
              <a:rPr lang="ru-RU" sz="800" dirty="0" smtClean="0">
                <a:latin typeface="Arial" charset="0"/>
              </a:rPr>
              <a:t>и </a:t>
            </a:r>
            <a:r>
              <a:rPr lang="ru-RU" sz="800" dirty="0">
                <a:latin typeface="Arial" charset="0"/>
              </a:rPr>
              <a:t>альтернативных добавках</a:t>
            </a: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 err="1">
                <a:latin typeface="Arial" charset="0"/>
              </a:rPr>
              <a:t>Омологация</a:t>
            </a:r>
            <a:r>
              <a:rPr lang="ru-RU" sz="800" dirty="0">
                <a:latin typeface="Arial" charset="0"/>
              </a:rPr>
              <a:t> в </a:t>
            </a:r>
            <a:r>
              <a:rPr lang="ru-RU" sz="800" dirty="0" err="1">
                <a:latin typeface="Arial" charset="0"/>
              </a:rPr>
              <a:t>Полилаб</a:t>
            </a:r>
            <a:endParaRPr lang="ru-RU" sz="800" dirty="0">
              <a:latin typeface="Arial" charset="0"/>
            </a:endParaRP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Формирование рекомендаций по изменениям переработки и характеристикам готовых изделий </a:t>
            </a:r>
          </a:p>
          <a:p>
            <a:pPr defTabSz="914400" fontAlgn="base">
              <a:spcBef>
                <a:spcPct val="0"/>
              </a:spcBef>
              <a:spcAft>
                <a:spcPts val="900"/>
              </a:spcAft>
            </a:pPr>
            <a:r>
              <a:rPr lang="ru-RU" sz="800" dirty="0">
                <a:latin typeface="Arial" charset="0"/>
              </a:rPr>
              <a:t>Внедрение у </a:t>
            </a:r>
            <a:r>
              <a:rPr lang="ru-RU" sz="800" dirty="0" smtClean="0">
                <a:latin typeface="Arial" charset="0"/>
              </a:rPr>
              <a:t>клиента</a:t>
            </a:r>
            <a:endParaRPr lang="ru-RU" sz="800" dirty="0"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895839" y="1237352"/>
            <a:ext cx="1367880" cy="3016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70000"/>
              </a:lnSpc>
            </a:pPr>
            <a:r>
              <a:rPr lang="ru-RU" sz="2800" b="1" dirty="0" smtClean="0">
                <a:solidFill>
                  <a:schemeClr val="accent1"/>
                </a:solidFill>
              </a:rPr>
              <a:t>6</a:t>
            </a:r>
            <a:r>
              <a:rPr lang="ru-RU" sz="800" b="1" dirty="0" smtClean="0">
                <a:solidFill>
                  <a:schemeClr val="accent1"/>
                </a:solidFill>
              </a:rPr>
              <a:t>….</a:t>
            </a:r>
            <a:r>
              <a:rPr lang="ru-RU" sz="2800" b="1" dirty="0" smtClean="0">
                <a:solidFill>
                  <a:schemeClr val="accent1"/>
                </a:solidFill>
              </a:rPr>
              <a:t>8</a:t>
            </a:r>
            <a:r>
              <a:rPr lang="ru-RU" sz="1200" b="1" dirty="0" smtClean="0">
                <a:solidFill>
                  <a:schemeClr val="accent1"/>
                </a:solidFill>
              </a:rPr>
              <a:t> мес.</a:t>
            </a:r>
            <a:endParaRPr lang="ru-RU" sz="1200" b="1" dirty="0">
              <a:solidFill>
                <a:schemeClr val="accent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81648" y="1121187"/>
            <a:ext cx="161553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200" b="1" dirty="0">
                <a:solidFill>
                  <a:schemeClr val="accent6"/>
                </a:solidFill>
              </a:rPr>
              <a:t>Цикл </a:t>
            </a:r>
            <a:r>
              <a:rPr lang="ru-RU" sz="1200" b="1" dirty="0" err="1">
                <a:solidFill>
                  <a:schemeClr val="accent6"/>
                </a:solidFill>
              </a:rPr>
              <a:t>омологации</a:t>
            </a:r>
            <a:r>
              <a:rPr lang="ru-RU" sz="1200" b="1" dirty="0">
                <a:solidFill>
                  <a:schemeClr val="accent6"/>
                </a:solidFill>
              </a:rPr>
              <a:t> </a:t>
            </a:r>
            <a:r>
              <a:rPr lang="ru-RU" sz="1200" b="1" dirty="0" smtClean="0">
                <a:solidFill>
                  <a:schemeClr val="accent6"/>
                </a:solidFill>
              </a:rPr>
              <a:t/>
            </a:r>
            <a:br>
              <a:rPr lang="ru-RU" sz="1200" b="1" dirty="0" smtClean="0">
                <a:solidFill>
                  <a:schemeClr val="accent6"/>
                </a:solidFill>
              </a:rPr>
            </a:br>
            <a:r>
              <a:rPr lang="ru-RU" sz="1200" b="1" dirty="0" smtClean="0">
                <a:solidFill>
                  <a:schemeClr val="accent6"/>
                </a:solidFill>
              </a:rPr>
              <a:t>в </a:t>
            </a:r>
            <a:r>
              <a:rPr lang="ru-RU" sz="1200" b="1" dirty="0">
                <a:solidFill>
                  <a:schemeClr val="accent6"/>
                </a:solidFill>
              </a:rPr>
              <a:t>новой реальности</a:t>
            </a:r>
            <a:endParaRPr lang="ru-RU" sz="1200" b="1" dirty="0" smtClean="0">
              <a:solidFill>
                <a:schemeClr val="accent6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5132292" y="2388791"/>
            <a:ext cx="930942" cy="576293"/>
          </a:xfrm>
          <a:prstGeom prst="rect">
            <a:avLst/>
          </a:prstGeom>
          <a:solidFill>
            <a:schemeClr val="accent6"/>
          </a:solidFill>
        </p:spPr>
        <p:txBody>
          <a:bodyPr wrap="square" lIns="72000" tIns="108000" rIns="72000" bIns="36000" rtlCol="0">
            <a:spAutoFit/>
          </a:bodyPr>
          <a:lstStyle/>
          <a:p>
            <a:pPr algn="ctr">
              <a:lnSpc>
                <a:spcPct val="70000"/>
              </a:lnSpc>
            </a:pPr>
            <a:r>
              <a:rPr lang="ru-RU" sz="2800" b="1" dirty="0" smtClean="0">
                <a:solidFill>
                  <a:schemeClr val="bg1"/>
                </a:solidFill>
              </a:rPr>
              <a:t>2</a:t>
            </a:r>
            <a:r>
              <a:rPr lang="ru-RU" sz="800" b="1" dirty="0" smtClean="0">
                <a:solidFill>
                  <a:schemeClr val="bg1"/>
                </a:solidFill>
              </a:rPr>
              <a:t> … </a:t>
            </a:r>
            <a:r>
              <a:rPr lang="ru-RU" sz="2800" b="1" dirty="0" smtClean="0">
                <a:solidFill>
                  <a:schemeClr val="bg1"/>
                </a:solidFill>
              </a:rPr>
              <a:t>4</a:t>
            </a:r>
            <a:r>
              <a:rPr lang="ru-RU" sz="1200" b="1" dirty="0" smtClean="0">
                <a:solidFill>
                  <a:schemeClr val="bg1"/>
                </a:solidFill>
              </a:rPr>
              <a:t> </a:t>
            </a:r>
            <a:br>
              <a:rPr lang="ru-RU" sz="1200" b="1" dirty="0" smtClean="0">
                <a:solidFill>
                  <a:schemeClr val="bg1"/>
                </a:solidFill>
              </a:rPr>
            </a:br>
            <a:r>
              <a:rPr lang="ru-RU" sz="1200" b="1" dirty="0" smtClean="0">
                <a:solidFill>
                  <a:schemeClr val="bg1"/>
                </a:solidFill>
              </a:rPr>
              <a:t>недели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1584" y="3410495"/>
            <a:ext cx="82994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 algn="r">
              <a:defRPr sz="1200" b="1">
                <a:solidFill>
                  <a:schemeClr val="tx2"/>
                </a:solidFill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Ключевые изменения</a:t>
            </a:r>
          </a:p>
        </p:txBody>
      </p:sp>
      <p:sp>
        <p:nvSpPr>
          <p:cNvPr id="24" name="Прямоугольник 23"/>
          <p:cNvSpPr>
            <a:spLocks/>
          </p:cNvSpPr>
          <p:nvPr/>
        </p:nvSpPr>
        <p:spPr bwMode="auto">
          <a:xfrm>
            <a:off x="1556861" y="3758127"/>
            <a:ext cx="1117599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2"/>
                </a:solidFill>
                <a:latin typeface="Arial" charset="0"/>
              </a:rPr>
              <a:t>Нет возможности корректировки 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продукта по итогам обратной связи от </a:t>
            </a: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>клиентов</a:t>
            </a:r>
            <a:endParaRPr lang="ru-RU" sz="1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5" name="Прямоугольник 24"/>
          <p:cNvSpPr>
            <a:spLocks/>
          </p:cNvSpPr>
          <p:nvPr/>
        </p:nvSpPr>
        <p:spPr bwMode="auto">
          <a:xfrm>
            <a:off x="3150525" y="3758127"/>
            <a:ext cx="1343280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2"/>
                </a:solidFill>
                <a:latin typeface="Arial" charset="0"/>
              </a:rPr>
              <a:t>Существенное сокращение времени </a:t>
            </a:r>
            <a:r>
              <a:rPr lang="ru-RU" sz="1000" dirty="0" err="1">
                <a:solidFill>
                  <a:schemeClr val="bg1"/>
                </a:solidFill>
                <a:latin typeface="Arial" charset="0"/>
              </a:rPr>
              <a:t>омологации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 с нескольких месяцев до 2-4 недель</a:t>
            </a:r>
          </a:p>
        </p:txBody>
      </p:sp>
      <p:sp>
        <p:nvSpPr>
          <p:cNvPr id="26" name="Прямоугольник 25"/>
          <p:cNvSpPr>
            <a:spLocks/>
          </p:cNvSpPr>
          <p:nvPr/>
        </p:nvSpPr>
        <p:spPr bwMode="auto">
          <a:xfrm>
            <a:off x="4823768" y="3758127"/>
            <a:ext cx="1782499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>
                <a:solidFill>
                  <a:schemeClr val="bg2"/>
                </a:solidFill>
                <a:latin typeface="Arial" charset="0"/>
              </a:rPr>
              <a:t>Изменение характеристик 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вследствие изменения полимера и применения альтернативных </a:t>
            </a: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/>
            </a:r>
            <a:br>
              <a:rPr lang="ru-RU" sz="1000" dirty="0" smtClean="0">
                <a:solidFill>
                  <a:schemeClr val="bg1"/>
                </a:solidFill>
                <a:latin typeface="Arial" charset="0"/>
              </a:rPr>
            </a:b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>добавок</a:t>
            </a:r>
            <a:endParaRPr lang="ru-RU" sz="10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27" name="Прямоугольник 26"/>
          <p:cNvSpPr>
            <a:spLocks/>
          </p:cNvSpPr>
          <p:nvPr/>
        </p:nvSpPr>
        <p:spPr bwMode="auto">
          <a:xfrm>
            <a:off x="6764156" y="3758127"/>
            <a:ext cx="2092960" cy="3787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000" b="1" dirty="0" smtClean="0">
                <a:solidFill>
                  <a:schemeClr val="bg2"/>
                </a:solidFill>
                <a:latin typeface="Arial" charset="0"/>
              </a:rPr>
              <a:t>Необходима готовность со стороны потребителей </a:t>
            </a:r>
            <a:r>
              <a:rPr lang="ru-RU" sz="1000" dirty="0" smtClean="0">
                <a:solidFill>
                  <a:schemeClr val="bg2"/>
                </a:solidFill>
                <a:latin typeface="Arial" charset="0"/>
              </a:rPr>
              <a:t/>
            </a:r>
            <a:br>
              <a:rPr lang="ru-RU" sz="1000" dirty="0" smtClean="0">
                <a:solidFill>
                  <a:schemeClr val="bg2"/>
                </a:solidFill>
                <a:latin typeface="Arial" charset="0"/>
              </a:rPr>
            </a:br>
            <a:r>
              <a:rPr lang="ru-RU" sz="1000" dirty="0" smtClean="0">
                <a:solidFill>
                  <a:schemeClr val="bg1"/>
                </a:solidFill>
                <a:latin typeface="Arial" charset="0"/>
              </a:rPr>
              <a:t>к </a:t>
            </a:r>
            <a:r>
              <a:rPr lang="ru-RU" sz="1000" dirty="0">
                <a:solidFill>
                  <a:schemeClr val="bg1"/>
                </a:solidFill>
                <a:latin typeface="Arial" charset="0"/>
              </a:rPr>
              <a:t>открытому диалогу и изменению параметров переработки и характеристик готовых изделий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3703470" y="1126284"/>
            <a:ext cx="1814325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200" b="1" dirty="0" err="1">
                <a:solidFill>
                  <a:schemeClr val="tx2"/>
                </a:solidFill>
              </a:rPr>
              <a:t>Омологация</a:t>
            </a:r>
            <a:r>
              <a:rPr lang="ru-RU" sz="1200" b="1" dirty="0">
                <a:solidFill>
                  <a:schemeClr val="tx2"/>
                </a:solidFill>
              </a:rPr>
              <a:t> продукта</a:t>
            </a:r>
          </a:p>
        </p:txBody>
      </p:sp>
      <p:sp>
        <p:nvSpPr>
          <p:cNvPr id="29" name="Дуга 28"/>
          <p:cNvSpPr>
            <a:spLocks noChangeAspect="1"/>
          </p:cNvSpPr>
          <p:nvPr/>
        </p:nvSpPr>
        <p:spPr bwMode="auto">
          <a:xfrm>
            <a:off x="3446108" y="1472310"/>
            <a:ext cx="252000" cy="252000"/>
          </a:xfrm>
          <a:prstGeom prst="arc">
            <a:avLst>
              <a:gd name="adj1" fmla="val 10621271"/>
              <a:gd name="adj2" fmla="val 16530072"/>
            </a:avLst>
          </a:prstGeom>
          <a:noFill/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Прямая со стрелкой 31"/>
          <p:cNvCxnSpPr>
            <a:endCxn id="29" idx="2"/>
          </p:cNvCxnSpPr>
          <p:nvPr/>
        </p:nvCxnSpPr>
        <p:spPr bwMode="auto">
          <a:xfrm flipH="1" flipV="1">
            <a:off x="3584186" y="1472890"/>
            <a:ext cx="864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 стрелкой 33"/>
          <p:cNvCxnSpPr/>
          <p:nvPr/>
        </p:nvCxnSpPr>
        <p:spPr bwMode="auto">
          <a:xfrm>
            <a:off x="3446108" y="1598309"/>
            <a:ext cx="0" cy="16560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Овал 29"/>
          <p:cNvSpPr>
            <a:spLocks noChangeAspect="1"/>
          </p:cNvSpPr>
          <p:nvPr/>
        </p:nvSpPr>
        <p:spPr bwMode="auto">
          <a:xfrm>
            <a:off x="4445999" y="1351479"/>
            <a:ext cx="252000" cy="252000"/>
          </a:xfrm>
          <a:prstGeom prst="ellipse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Овал 36"/>
          <p:cNvSpPr>
            <a:spLocks noChangeAspect="1"/>
          </p:cNvSpPr>
          <p:nvPr/>
        </p:nvSpPr>
        <p:spPr bwMode="auto">
          <a:xfrm>
            <a:off x="3401108" y="1647003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Овал 37"/>
          <p:cNvSpPr>
            <a:spLocks noChangeAspect="1"/>
          </p:cNvSpPr>
          <p:nvPr/>
        </p:nvSpPr>
        <p:spPr bwMode="auto">
          <a:xfrm>
            <a:off x="3401108" y="1817570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9" name="Овал 38"/>
          <p:cNvSpPr>
            <a:spLocks noChangeAspect="1"/>
          </p:cNvSpPr>
          <p:nvPr/>
        </p:nvSpPr>
        <p:spPr bwMode="auto">
          <a:xfrm>
            <a:off x="3401108" y="1988137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0" name="Овал 39"/>
          <p:cNvSpPr>
            <a:spLocks noChangeAspect="1"/>
          </p:cNvSpPr>
          <p:nvPr/>
        </p:nvSpPr>
        <p:spPr bwMode="auto">
          <a:xfrm>
            <a:off x="3401108" y="2158704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1" name="Овал 40"/>
          <p:cNvSpPr>
            <a:spLocks noChangeAspect="1"/>
          </p:cNvSpPr>
          <p:nvPr/>
        </p:nvSpPr>
        <p:spPr bwMode="auto">
          <a:xfrm>
            <a:off x="3401108" y="2329271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2" name="Овал 41"/>
          <p:cNvSpPr>
            <a:spLocks noChangeAspect="1"/>
          </p:cNvSpPr>
          <p:nvPr/>
        </p:nvSpPr>
        <p:spPr bwMode="auto">
          <a:xfrm>
            <a:off x="3401108" y="2499838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Овал 42"/>
          <p:cNvSpPr>
            <a:spLocks noChangeAspect="1"/>
          </p:cNvSpPr>
          <p:nvPr/>
        </p:nvSpPr>
        <p:spPr bwMode="auto">
          <a:xfrm>
            <a:off x="3401108" y="267040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Ромб 44"/>
          <p:cNvSpPr>
            <a:spLocks noChangeAspect="1"/>
          </p:cNvSpPr>
          <p:nvPr/>
        </p:nvSpPr>
        <p:spPr bwMode="auto">
          <a:xfrm>
            <a:off x="3392108" y="2840972"/>
            <a:ext cx="108000" cy="108000"/>
          </a:xfrm>
          <a:prstGeom prst="diamond">
            <a:avLst/>
          </a:prstGeom>
          <a:solidFill>
            <a:schemeClr val="accent6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Овал 45"/>
          <p:cNvSpPr>
            <a:spLocks noChangeAspect="1"/>
          </p:cNvSpPr>
          <p:nvPr/>
        </p:nvSpPr>
        <p:spPr bwMode="auto">
          <a:xfrm>
            <a:off x="3401108" y="3029541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Дуга 47"/>
          <p:cNvSpPr>
            <a:spLocks noChangeAspect="1"/>
          </p:cNvSpPr>
          <p:nvPr/>
        </p:nvSpPr>
        <p:spPr bwMode="auto">
          <a:xfrm flipH="1">
            <a:off x="5429706" y="1472310"/>
            <a:ext cx="252000" cy="252000"/>
          </a:xfrm>
          <a:prstGeom prst="arc">
            <a:avLst>
              <a:gd name="adj1" fmla="val 10761392"/>
              <a:gd name="adj2" fmla="val 16530072"/>
            </a:avLst>
          </a:prstGeom>
          <a:noFill/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49" name="Прямая со стрелкой 48"/>
          <p:cNvCxnSpPr/>
          <p:nvPr/>
        </p:nvCxnSpPr>
        <p:spPr bwMode="auto">
          <a:xfrm flipV="1">
            <a:off x="4681672" y="1472890"/>
            <a:ext cx="864000" cy="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Прямая со стрелкой 49"/>
          <p:cNvCxnSpPr/>
          <p:nvPr/>
        </p:nvCxnSpPr>
        <p:spPr bwMode="auto">
          <a:xfrm>
            <a:off x="5681704" y="1598309"/>
            <a:ext cx="0" cy="720000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accent6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6" name="Дуга 55"/>
          <p:cNvSpPr>
            <a:spLocks noChangeAspect="1"/>
          </p:cNvSpPr>
          <p:nvPr/>
        </p:nvSpPr>
        <p:spPr bwMode="auto">
          <a:xfrm flipH="1">
            <a:off x="3384223" y="2018257"/>
            <a:ext cx="252000" cy="252000"/>
          </a:xfrm>
          <a:prstGeom prst="arc">
            <a:avLst>
              <a:gd name="adj1" fmla="val 10621271"/>
              <a:gd name="adj2" fmla="val 16530072"/>
            </a:avLst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triangl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Дуга 56"/>
          <p:cNvSpPr>
            <a:spLocks noChangeAspect="1"/>
          </p:cNvSpPr>
          <p:nvPr/>
        </p:nvSpPr>
        <p:spPr bwMode="auto">
          <a:xfrm flipH="1" flipV="1">
            <a:off x="3384223" y="2641964"/>
            <a:ext cx="252000" cy="252000"/>
          </a:xfrm>
          <a:prstGeom prst="arc">
            <a:avLst>
              <a:gd name="adj1" fmla="val 10621271"/>
              <a:gd name="adj2" fmla="val 16530072"/>
            </a:avLst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3701420" y="1949352"/>
            <a:ext cx="806070" cy="951511"/>
          </a:xfrm>
          <a:prstGeom prst="rect">
            <a:avLst/>
          </a:prstGeom>
          <a:solidFill>
            <a:schemeClr val="bg1"/>
          </a:solidFill>
          <a:ln w="2857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b="1" dirty="0" smtClean="0">
                <a:latin typeface="Arial" charset="0"/>
              </a:rPr>
              <a:t>Ключевой этап</a:t>
            </a:r>
          </a:p>
          <a:p>
            <a:pPr defTabSz="914400" fontAlgn="base">
              <a:spcBef>
                <a:spcPct val="0"/>
              </a:spcBef>
              <a:spcAft>
                <a:spcPts val="400"/>
              </a:spcAft>
            </a:pPr>
            <a:r>
              <a:rPr lang="ru-RU" sz="800" dirty="0" smtClean="0">
                <a:latin typeface="Arial" charset="0"/>
              </a:rPr>
              <a:t>Получение ОС </a:t>
            </a:r>
            <a:r>
              <a:rPr lang="ru-RU" sz="800" dirty="0">
                <a:latin typeface="Arial" charset="0"/>
              </a:rPr>
              <a:t>от клиента, корректировка характеристик продукта</a:t>
            </a:r>
          </a:p>
        </p:txBody>
      </p:sp>
      <p:cxnSp>
        <p:nvCxnSpPr>
          <p:cNvPr id="60" name="Прямая со стрелкой 59"/>
          <p:cNvCxnSpPr/>
          <p:nvPr/>
        </p:nvCxnSpPr>
        <p:spPr bwMode="auto">
          <a:xfrm flipV="1">
            <a:off x="3633749" y="2150805"/>
            <a:ext cx="0" cy="610611"/>
          </a:xfrm>
          <a:prstGeom prst="straightConnector1">
            <a:avLst/>
          </a:prstGeom>
          <a:noFill/>
          <a:ln w="19050" cap="rnd" cmpd="sng" algn="ctr">
            <a:solidFill>
              <a:schemeClr val="accent1"/>
            </a:solidFill>
            <a:prstDash val="sysDot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64" name="Овал 63"/>
          <p:cNvSpPr>
            <a:spLocks noChangeAspect="1"/>
          </p:cNvSpPr>
          <p:nvPr/>
        </p:nvSpPr>
        <p:spPr bwMode="auto">
          <a:xfrm>
            <a:off x="3588749" y="237280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89" name="Группа 88"/>
          <p:cNvGrpSpPr/>
          <p:nvPr/>
        </p:nvGrpSpPr>
        <p:grpSpPr>
          <a:xfrm>
            <a:off x="5726703" y="1689008"/>
            <a:ext cx="754945" cy="1402192"/>
            <a:chOff x="5429707" y="1689008"/>
            <a:chExt cx="1051941" cy="1402192"/>
          </a:xfrm>
        </p:grpSpPr>
        <p:cxnSp>
          <p:nvCxnSpPr>
            <p:cNvPr id="66" name="Прямая соединительная линия 65"/>
            <p:cNvCxnSpPr/>
            <p:nvPr/>
          </p:nvCxnSpPr>
          <p:spPr bwMode="auto">
            <a:xfrm>
              <a:off x="5429707" y="1689008"/>
              <a:ext cx="1020122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Прямая соединительная линия 66"/>
            <p:cNvCxnSpPr/>
            <p:nvPr/>
          </p:nvCxnSpPr>
          <p:spPr bwMode="auto">
            <a:xfrm>
              <a:off x="5822814" y="1802628"/>
              <a:ext cx="627015" cy="20860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Прямая соединительная линия 68"/>
            <p:cNvCxnSpPr/>
            <p:nvPr/>
          </p:nvCxnSpPr>
          <p:spPr bwMode="auto">
            <a:xfrm>
              <a:off x="5822814" y="1913474"/>
              <a:ext cx="590926" cy="475583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Прямая соединительная линия 70"/>
            <p:cNvCxnSpPr/>
            <p:nvPr/>
          </p:nvCxnSpPr>
          <p:spPr bwMode="auto">
            <a:xfrm>
              <a:off x="5822814" y="2024833"/>
              <a:ext cx="627015" cy="588362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Прямая соединительная линия 75"/>
            <p:cNvCxnSpPr/>
            <p:nvPr/>
          </p:nvCxnSpPr>
          <p:spPr bwMode="auto">
            <a:xfrm>
              <a:off x="5822814" y="2143840"/>
              <a:ext cx="658834" cy="94736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Прямая соединительная линия 78"/>
            <p:cNvCxnSpPr/>
            <p:nvPr/>
          </p:nvCxnSpPr>
          <p:spPr bwMode="auto">
            <a:xfrm>
              <a:off x="5429707" y="1801369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Прямая соединительная линия 79"/>
            <p:cNvCxnSpPr/>
            <p:nvPr/>
          </p:nvCxnSpPr>
          <p:spPr bwMode="auto">
            <a:xfrm>
              <a:off x="5429707" y="1913730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Прямая соединительная линия 80"/>
            <p:cNvCxnSpPr/>
            <p:nvPr/>
          </p:nvCxnSpPr>
          <p:spPr bwMode="auto">
            <a:xfrm>
              <a:off x="5429707" y="2026091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Прямая соединительная линия 81"/>
            <p:cNvCxnSpPr/>
            <p:nvPr/>
          </p:nvCxnSpPr>
          <p:spPr bwMode="auto">
            <a:xfrm>
              <a:off x="5429707" y="2138450"/>
              <a:ext cx="39600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1" name="Овал 50"/>
          <p:cNvSpPr>
            <a:spLocks noChangeAspect="1"/>
          </p:cNvSpPr>
          <p:nvPr/>
        </p:nvSpPr>
        <p:spPr bwMode="auto">
          <a:xfrm>
            <a:off x="5636704" y="1642669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2" name="Овал 51"/>
          <p:cNvSpPr>
            <a:spLocks noChangeAspect="1"/>
          </p:cNvSpPr>
          <p:nvPr/>
        </p:nvSpPr>
        <p:spPr bwMode="auto">
          <a:xfrm>
            <a:off x="5636704" y="175317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Овал 52"/>
          <p:cNvSpPr>
            <a:spLocks noChangeAspect="1"/>
          </p:cNvSpPr>
          <p:nvPr/>
        </p:nvSpPr>
        <p:spPr bwMode="auto">
          <a:xfrm>
            <a:off x="5636704" y="1866767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Овал 53"/>
          <p:cNvSpPr>
            <a:spLocks noChangeAspect="1"/>
          </p:cNvSpPr>
          <p:nvPr/>
        </p:nvSpPr>
        <p:spPr bwMode="auto">
          <a:xfrm>
            <a:off x="5636704" y="1978201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Овал 54"/>
          <p:cNvSpPr>
            <a:spLocks noChangeAspect="1"/>
          </p:cNvSpPr>
          <p:nvPr/>
        </p:nvSpPr>
        <p:spPr bwMode="auto">
          <a:xfrm>
            <a:off x="5636704" y="2089635"/>
            <a:ext cx="90000" cy="90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1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104" name="Группа 103"/>
          <p:cNvGrpSpPr>
            <a:grpSpLocks noChangeAspect="1"/>
          </p:cNvGrpSpPr>
          <p:nvPr/>
        </p:nvGrpSpPr>
        <p:grpSpPr>
          <a:xfrm>
            <a:off x="3155422" y="3382844"/>
            <a:ext cx="334981" cy="334981"/>
            <a:chOff x="3143549" y="3382844"/>
            <a:chExt cx="447089" cy="447089"/>
          </a:xfrm>
        </p:grpSpPr>
        <p:sp>
          <p:nvSpPr>
            <p:cNvPr id="98" name="Овал 97"/>
            <p:cNvSpPr/>
            <p:nvPr/>
          </p:nvSpPr>
          <p:spPr bwMode="auto">
            <a:xfrm>
              <a:off x="3143549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1" name="Рисунок 9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7656" y="3408388"/>
              <a:ext cx="396000" cy="396000"/>
            </a:xfrm>
            <a:prstGeom prst="rect">
              <a:avLst/>
            </a:prstGeom>
          </p:spPr>
        </p:pic>
      </p:grpSp>
      <p:grpSp>
        <p:nvGrpSpPr>
          <p:cNvPr id="103" name="Группа 102"/>
          <p:cNvGrpSpPr>
            <a:grpSpLocks noChangeAspect="1"/>
          </p:cNvGrpSpPr>
          <p:nvPr/>
        </p:nvGrpSpPr>
        <p:grpSpPr>
          <a:xfrm>
            <a:off x="4823769" y="3382844"/>
            <a:ext cx="334981" cy="334981"/>
            <a:chOff x="4869543" y="3382844"/>
            <a:chExt cx="447089" cy="447089"/>
          </a:xfrm>
        </p:grpSpPr>
        <p:sp>
          <p:nvSpPr>
            <p:cNvPr id="99" name="Овал 98"/>
            <p:cNvSpPr/>
            <p:nvPr/>
          </p:nvSpPr>
          <p:spPr bwMode="auto">
            <a:xfrm>
              <a:off x="4869543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4" name="Рисунок 93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73055" y="3390388"/>
              <a:ext cx="432000" cy="432000"/>
            </a:xfrm>
            <a:prstGeom prst="rect">
              <a:avLst/>
            </a:prstGeom>
          </p:spPr>
        </p:pic>
      </p:grpSp>
      <p:grpSp>
        <p:nvGrpSpPr>
          <p:cNvPr id="105" name="Группа 104"/>
          <p:cNvGrpSpPr>
            <a:grpSpLocks noChangeAspect="1"/>
          </p:cNvGrpSpPr>
          <p:nvPr/>
        </p:nvGrpSpPr>
        <p:grpSpPr>
          <a:xfrm>
            <a:off x="1556861" y="3382844"/>
            <a:ext cx="340315" cy="334981"/>
            <a:chOff x="1449377" y="3382844"/>
            <a:chExt cx="454208" cy="447089"/>
          </a:xfrm>
        </p:grpSpPr>
        <p:sp>
          <p:nvSpPr>
            <p:cNvPr id="97" name="Овал 96"/>
            <p:cNvSpPr/>
            <p:nvPr/>
          </p:nvSpPr>
          <p:spPr bwMode="auto">
            <a:xfrm>
              <a:off x="1449377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5" name="Рисунок 9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1585" y="3390388"/>
              <a:ext cx="432000" cy="432000"/>
            </a:xfrm>
            <a:prstGeom prst="rect">
              <a:avLst/>
            </a:prstGeom>
          </p:spPr>
        </p:pic>
      </p:grpSp>
      <p:grpSp>
        <p:nvGrpSpPr>
          <p:cNvPr id="102" name="Группа 101"/>
          <p:cNvGrpSpPr>
            <a:grpSpLocks noChangeAspect="1"/>
          </p:cNvGrpSpPr>
          <p:nvPr/>
        </p:nvGrpSpPr>
        <p:grpSpPr>
          <a:xfrm>
            <a:off x="6764156" y="3382844"/>
            <a:ext cx="334981" cy="334981"/>
            <a:chOff x="6849871" y="3382844"/>
            <a:chExt cx="447089" cy="447089"/>
          </a:xfrm>
        </p:grpSpPr>
        <p:sp>
          <p:nvSpPr>
            <p:cNvPr id="100" name="Овал 99"/>
            <p:cNvSpPr/>
            <p:nvPr/>
          </p:nvSpPr>
          <p:spPr bwMode="auto">
            <a:xfrm>
              <a:off x="6849871" y="3382844"/>
              <a:ext cx="447089" cy="447089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96" name="Рисунок 95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7416" y="3390388"/>
              <a:ext cx="432000" cy="4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86453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416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6878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3" y="132818"/>
            <a:ext cx="8426451" cy="617099"/>
          </a:xfrm>
        </p:spPr>
        <p:txBody>
          <a:bodyPr vert="horz"/>
          <a:lstStyle/>
          <a:p>
            <a:pPr algn="ctr"/>
            <a:r>
              <a:rPr lang="ru-RU" dirty="0"/>
              <a:t>ТЕКУЩИЕ РИСКИ ДЛЯ СЕГМЕНТА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ЛИТЬЕ </a:t>
            </a:r>
            <a:r>
              <a:rPr lang="ru-RU" dirty="0"/>
              <a:t>ПОД ДАВЛЕНИЕМ (</a:t>
            </a:r>
            <a:r>
              <a:rPr lang="ru-RU" dirty="0" smtClean="0"/>
              <a:t>ГОМОПОЛИМЕР ПРОПИЛЕНА)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2765830"/>
              </p:ext>
            </p:extLst>
          </p:nvPr>
        </p:nvGraphicFramePr>
        <p:xfrm>
          <a:off x="121494" y="749917"/>
          <a:ext cx="8784381" cy="31186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53303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652230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2685650">
                  <a:extLst>
                    <a:ext uri="{9D8B030D-6E8A-4147-A177-3AD203B41FA5}">
                      <a16:colId xmlns:a16="http://schemas.microsoft.com/office/drawing/2014/main" val="1437344175"/>
                    </a:ext>
                  </a:extLst>
                </a:gridCol>
                <a:gridCol w="2186887">
                  <a:extLst>
                    <a:ext uri="{9D8B030D-6E8A-4147-A177-3AD203B41FA5}">
                      <a16:colId xmlns:a16="http://schemas.microsoft.com/office/drawing/2014/main" val="2482789677"/>
                    </a:ext>
                  </a:extLst>
                </a:gridCol>
                <a:gridCol w="2006311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</a:tblGrid>
              <a:tr h="33486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r>
                        <a:rPr lang="en-US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PP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17205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30 GP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рки общего назначения</a:t>
                      </a:r>
                    </a:p>
                  </a:txBody>
                  <a:tcPr marL="9525" marR="9525" marT="9525" marB="0" anchor="ctr"/>
                </a:tc>
                <a:tc rowSpan="8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войств марки в рамках ТУ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5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иски минимальные</a:t>
                      </a:r>
                      <a:endParaRPr lang="en-US" sz="1100" b="0" i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174971"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120 GP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172056"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250 GP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64065418"/>
                  </a:ext>
                </a:extLst>
              </a:tr>
              <a:tr h="207592">
                <a:tc>
                  <a:txBody>
                    <a:bodyPr/>
                    <a:lstStyle/>
                    <a:p>
                      <a:pPr algn="l" fontAlgn="ctr"/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350 GP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  <a:tr h="17205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450 GP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7063600"/>
                  </a:ext>
                </a:extLst>
              </a:tr>
              <a:tr h="61920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bex </a:t>
                      </a:r>
                      <a:r>
                        <a:rPr lang="pt-BR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451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 с высокой текучестью расплава и хорошей перерабатываемостью. Повышенная прозрачность.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озможно</a:t>
                      </a:r>
                      <a:r>
                        <a:rPr lang="ru-RU" sz="11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нижение</a:t>
                      </a: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прозрачности  и прочностных характеристик,  незначительное увеличение индекса желтизны</a:t>
                      </a:r>
                      <a:r>
                        <a:rPr lang="ru-RU" sz="11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по сравнению с марками, выпускаемыми в 2021 году.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928184160"/>
                  </a:ext>
                </a:extLst>
              </a:tr>
              <a:tr h="61920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bex</a:t>
                      </a:r>
                      <a:r>
                        <a:rPr lang="en-US" sz="11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1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de-DE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452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 с высокой текучестью расплава и хорошей перерабатываемостью. Высокая</a:t>
                      </a:r>
                      <a:r>
                        <a:rPr lang="ru-RU" sz="1100" b="0" i="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жесткость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496593509"/>
                  </a:ext>
                </a:extLst>
              </a:tr>
              <a:tr h="61920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Sibex</a:t>
                      </a:r>
                      <a:r>
                        <a:rPr lang="ru-RU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</a:t>
                      </a:r>
                      <a:r>
                        <a:rPr lang="de-DE" sz="11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 H552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 с высокой текучестью расплава и хорошей перерабатываемостью. Высокая жесткость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4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33864525"/>
                  </a:ext>
                </a:extLst>
              </a:tr>
            </a:tbl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9836" y="3894193"/>
            <a:ext cx="781962" cy="789424"/>
          </a:xfrm>
          <a:prstGeom prst="rect">
            <a:avLst/>
          </a:prstGeom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031232" y="3895839"/>
            <a:ext cx="815601" cy="815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888661" y="3931123"/>
            <a:ext cx="600524" cy="7457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7370" y="3895602"/>
            <a:ext cx="717135" cy="717135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3856" y="4034489"/>
            <a:ext cx="1133944" cy="58610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3" y="3989301"/>
            <a:ext cx="652469" cy="652469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359387" y="4191321"/>
            <a:ext cx="769750" cy="31156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492445" y="4035707"/>
            <a:ext cx="605027" cy="45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7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847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7905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155" y="140544"/>
            <a:ext cx="9092845" cy="672627"/>
          </a:xfrm>
        </p:spPr>
        <p:txBody>
          <a:bodyPr vert="horz"/>
          <a:lstStyle/>
          <a:p>
            <a:pPr algn="ctr"/>
            <a:r>
              <a:rPr lang="ru-RU" dirty="0"/>
              <a:t>ТЕКУЩИЕ РИСКИ ДЛЯ СЕГМЕНТА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ЛИТЬЕ </a:t>
            </a:r>
            <a:r>
              <a:rPr lang="ru-RU" dirty="0"/>
              <a:t>ПОД ДАВЛЕНИЕМ </a:t>
            </a:r>
            <a:r>
              <a:rPr lang="ru-RU" dirty="0" smtClean="0"/>
              <a:t>(СТАТСОПОЛИМЕР ПРОПИЛЕНА И ЭТИЛЕНА)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9423990"/>
              </p:ext>
            </p:extLst>
          </p:nvPr>
        </p:nvGraphicFramePr>
        <p:xfrm>
          <a:off x="89522" y="813171"/>
          <a:ext cx="8920195" cy="19153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1986">
                  <a:extLst>
                    <a:ext uri="{9D8B030D-6E8A-4147-A177-3AD203B41FA5}">
                      <a16:colId xmlns:a16="http://schemas.microsoft.com/office/drawing/2014/main" val="1056673436"/>
                    </a:ext>
                  </a:extLst>
                </a:gridCol>
                <a:gridCol w="601994">
                  <a:extLst>
                    <a:ext uri="{9D8B030D-6E8A-4147-A177-3AD203B41FA5}">
                      <a16:colId xmlns:a16="http://schemas.microsoft.com/office/drawing/2014/main" val="4289227921"/>
                    </a:ext>
                  </a:extLst>
                </a:gridCol>
                <a:gridCol w="3470046">
                  <a:extLst>
                    <a:ext uri="{9D8B030D-6E8A-4147-A177-3AD203B41FA5}">
                      <a16:colId xmlns:a16="http://schemas.microsoft.com/office/drawing/2014/main" val="4261906208"/>
                    </a:ext>
                  </a:extLst>
                </a:gridCol>
                <a:gridCol w="2098515">
                  <a:extLst>
                    <a:ext uri="{9D8B030D-6E8A-4147-A177-3AD203B41FA5}">
                      <a16:colId xmlns:a16="http://schemas.microsoft.com/office/drawing/2014/main" val="969418834"/>
                    </a:ext>
                  </a:extLst>
                </a:gridCol>
                <a:gridCol w="1957654">
                  <a:extLst>
                    <a:ext uri="{9D8B030D-6E8A-4147-A177-3AD203B41FA5}">
                      <a16:colId xmlns:a16="http://schemas.microsoft.com/office/drawing/2014/main" val="1639352375"/>
                    </a:ext>
                  </a:extLst>
                </a:gridCol>
              </a:tblGrid>
              <a:tr h="1097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PP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6441497"/>
                  </a:ext>
                </a:extLst>
              </a:tr>
              <a:tr h="278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R481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 rowSpan="5"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+mn-lt"/>
                          <a:cs typeface="Arial" panose="020B0604020202020204" pitchFamily="34" charset="0"/>
                        </a:rPr>
                        <a:t>Статистические сополимеры пропилена с этиленом.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+mn-lt"/>
                          <a:cs typeface="Arial" panose="020B0604020202020204" pitchFamily="34" charset="0"/>
                        </a:rPr>
                        <a:t>Продукты характеризуются высокой текучестью, специальным составом рецептуры стабилизации, обеспечивающим улучшенные </a:t>
                      </a:r>
                      <a:r>
                        <a:rPr lang="ru-RU" sz="1100" b="1" dirty="0" smtClean="0">
                          <a:latin typeface="+mn-lt"/>
                          <a:cs typeface="Arial" panose="020B0604020202020204" pitchFamily="34" charset="0"/>
                        </a:rPr>
                        <a:t>оптические свойства </a:t>
                      </a:r>
                      <a:r>
                        <a:rPr lang="ru-RU" sz="1100" dirty="0" smtClean="0">
                          <a:latin typeface="+mn-lt"/>
                          <a:cs typeface="Arial" panose="020B0604020202020204" pitchFamily="34" charset="0"/>
                        </a:rPr>
                        <a:t>и сбалансированное сочетание жесткости и ударной вязкости.</a:t>
                      </a:r>
                    </a:p>
                  </a:txBody>
                  <a:tcPr marL="9525" marR="9525" marT="9525" marB="0" anchor="ctr"/>
                </a:tc>
                <a:tc rowSpan="5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войств марки в рамках ТУ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ru-RU" sz="1100" dirty="0" smtClean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значительное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нижение прозрачности и прочностных характеристик, возможно изменение органолептических характеристик, уход от голубого оттенка в натуральный.</a:t>
                      </a:r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2192342"/>
                  </a:ext>
                </a:extLst>
              </a:tr>
              <a:tr h="28736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en-US" sz="11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445S</a:t>
                      </a:r>
                      <a:endParaRPr lang="de-DE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5-4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975184"/>
                  </a:ext>
                </a:extLst>
              </a:tr>
              <a:tr h="27887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en-US" sz="11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445T</a:t>
                      </a:r>
                      <a:endParaRPr lang="de-DE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-7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42325277"/>
                  </a:ext>
                </a:extLst>
              </a:tr>
              <a:tr h="278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en-US" sz="1100" b="1" u="none" strike="noStrike" kern="1200" baseline="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445U</a:t>
                      </a:r>
                      <a:endParaRPr lang="de-DE" sz="1100" b="1" u="none" strike="noStrike" kern="1200" dirty="0" smtClean="0">
                        <a:solidFill>
                          <a:srgbClr val="77E2C3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0-9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30683010"/>
                  </a:ext>
                </a:extLst>
              </a:tr>
              <a:tr h="2788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</a:t>
                      </a:r>
                      <a:r>
                        <a:rPr lang="en-US" sz="11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45S</a:t>
                      </a:r>
                      <a:endParaRPr lang="de-DE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35-4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sz="110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sz="1100" dirty="0"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72828030"/>
                  </a:ext>
                </a:extLst>
              </a:tr>
            </a:tbl>
          </a:graphicData>
        </a:graphic>
      </p:graphicFrame>
      <p:pic>
        <p:nvPicPr>
          <p:cNvPr id="6" name="Picture 2" descr="Контейнер пищевой с ручкой 5,8 л 293 х 198 полипропилен ЛЛ 1-25 от  интернет-магазина mobipack.ru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1146" y="3276772"/>
            <a:ext cx="1393155" cy="1037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Емкость 0,5 л. Характеристики Пластиковая тара Материал полипропилен  Вместимость (мл) 500 Высота (мм) 100 Диаметр корпуса верхний - габарит (мм)  98 Диаметр корпуса нижний - габарит (мм) 80 Диаметр крышки (мм) 96  Количество в ...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8173" y="3301524"/>
            <a:ext cx="1058056" cy="1058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Контейнер пищевой StarPlast, 130 х 95 х 65, 160 х 115 х 80, 195 х 140 х 95,  225 х 160 х 105, 265 х 185 х 130, - купить по выгодной цене в  интернет-магазине OZON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4705" y="3148759"/>
            <a:ext cx="807926" cy="13635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Пищевые контейнеры - купить контейнер в интернет-магазине: Киев, Украина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6" y="2905651"/>
            <a:ext cx="2135662" cy="2135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Нижний колонтитул 2"/>
          <p:cNvSpPr txBox="1">
            <a:spLocks/>
          </p:cNvSpPr>
          <p:nvPr/>
        </p:nvSpPr>
        <p:spPr>
          <a:xfrm>
            <a:off x="169373" y="2759401"/>
            <a:ext cx="4468411" cy="285859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ru-RU"/>
            </a:defPPr>
            <a:lvl1pPr marL="0" algn="l" defTabSz="778986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 smtClean="0">
                <a:solidFill>
                  <a:srgbClr val="77E2C3"/>
                </a:solidFill>
              </a:rPr>
              <a:t>Малотоннажные марки</a:t>
            </a:r>
            <a:endParaRPr lang="ru-RU" sz="1200" b="1" dirty="0">
              <a:solidFill>
                <a:srgbClr val="77E2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8401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86321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8926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62889" y="4894342"/>
            <a:ext cx="2755281" cy="342078"/>
          </a:xfrm>
        </p:spPr>
        <p:txBody>
          <a:bodyPr/>
          <a:lstStyle/>
          <a:p>
            <a:r>
              <a:rPr lang="ru-RU" dirty="0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1004226"/>
              </p:ext>
            </p:extLst>
          </p:nvPr>
        </p:nvGraphicFramePr>
        <p:xfrm>
          <a:off x="102310" y="632030"/>
          <a:ext cx="8971351" cy="41234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0120">
                  <a:extLst>
                    <a:ext uri="{9D8B030D-6E8A-4147-A177-3AD203B41FA5}">
                      <a16:colId xmlns:a16="http://schemas.microsoft.com/office/drawing/2014/main" val="3335185192"/>
                    </a:ext>
                  </a:extLst>
                </a:gridCol>
                <a:gridCol w="1024768">
                  <a:extLst>
                    <a:ext uri="{9D8B030D-6E8A-4147-A177-3AD203B41FA5}">
                      <a16:colId xmlns:a16="http://schemas.microsoft.com/office/drawing/2014/main" val="2482292469"/>
                    </a:ext>
                  </a:extLst>
                </a:gridCol>
                <a:gridCol w="3084919">
                  <a:extLst>
                    <a:ext uri="{9D8B030D-6E8A-4147-A177-3AD203B41FA5}">
                      <a16:colId xmlns:a16="http://schemas.microsoft.com/office/drawing/2014/main" val="1045747165"/>
                    </a:ext>
                  </a:extLst>
                </a:gridCol>
                <a:gridCol w="1777188">
                  <a:extLst>
                    <a:ext uri="{9D8B030D-6E8A-4147-A177-3AD203B41FA5}">
                      <a16:colId xmlns:a16="http://schemas.microsoft.com/office/drawing/2014/main" val="785134573"/>
                    </a:ext>
                  </a:extLst>
                </a:gridCol>
                <a:gridCol w="1944356">
                  <a:extLst>
                    <a:ext uri="{9D8B030D-6E8A-4147-A177-3AD203B41FA5}">
                      <a16:colId xmlns:a16="http://schemas.microsoft.com/office/drawing/2014/main" val="4253045397"/>
                    </a:ext>
                  </a:extLst>
                </a:gridCol>
              </a:tblGrid>
              <a:tr h="3838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PP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2685464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7445L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-7</a:t>
                      </a:r>
                    </a:p>
                  </a:txBody>
                  <a:tcPr marL="9525" marR="9525" marT="9525" marB="0" anchor="ctr"/>
                </a:tc>
                <a:tc rowSpan="11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труктура сополимера обеспечивает улучшенный баланс физико-механических свойств. Продукт характеризуется выгодным сочетанием хорошей жесткости и ударной вязкости.</a:t>
                      </a:r>
                    </a:p>
                  </a:txBody>
                  <a:tcPr marL="9525" marR="9525" marT="9525" marB="0" anchor="ctr"/>
                </a:tc>
                <a:tc rowSpan="16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 свойств марки в рамках ТУ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just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u="none" strike="noStrike" kern="1200" baseline="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16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большое снижение физико-механических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характеристик, незначительное увеличение усадки</a:t>
                      </a:r>
                      <a:endParaRPr lang="ru-RU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algn="just" fontAlgn="ctr"/>
                      <a:endParaRPr lang="ru-RU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168636471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332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-1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9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632100040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300N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-1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6765464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400N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-1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5253980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I122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38545798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348P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5-2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0438388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440R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5-3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l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7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727604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I452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94225493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348S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5-5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427809052"/>
                  </a:ext>
                </a:extLst>
              </a:tr>
              <a:tr h="1972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РР</a:t>
                      </a:r>
                      <a:r>
                        <a:rPr lang="ru-RU" sz="1100" b="1" u="none" strike="noStrike" kern="1200" baseline="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540</a:t>
                      </a:r>
                      <a:r>
                        <a:rPr lang="en-US" sz="1100" b="1" u="none" strike="noStrike" kern="1200" baseline="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</a:t>
                      </a:r>
                      <a:endParaRPr lang="pt-BR" sz="1100" b="1" u="none" strike="noStrike" kern="1200" dirty="0" smtClean="0">
                        <a:solidFill>
                          <a:srgbClr val="77E2C3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0-9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3801992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440T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50-7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41989380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K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3-5</a:t>
                      </a:r>
                    </a:p>
                  </a:txBody>
                  <a:tcPr marL="9525" marR="9525" marT="9525" marB="0" anchor="ctr"/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одукты с высокой ударной прочностью. Структура сополимера обеспечивает улучшенный баланс физико-механических свойств.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81323031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-10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27815449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N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-1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21898343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rgbClr val="77E2C3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P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3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9240026"/>
                  </a:ext>
                </a:extLst>
              </a:tr>
              <a:tr h="242154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9240P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8-22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3971867"/>
                  </a:ext>
                </a:extLst>
              </a:tr>
            </a:tbl>
          </a:graphicData>
        </a:graphic>
      </p:graphicFrame>
      <p:sp>
        <p:nvSpPr>
          <p:cNvPr id="6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9188761" cy="615553"/>
          </a:xfrm>
        </p:spPr>
        <p:txBody>
          <a:bodyPr vert="horz" wrap="square">
            <a:spAutoFit/>
          </a:bodyPr>
          <a:lstStyle/>
          <a:p>
            <a:pPr algn="ctr"/>
            <a:r>
              <a:rPr lang="ru-RU" dirty="0"/>
              <a:t>ТЕКУЩИЕ РИСКИ ДЛЯ СЕГМЕНТА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ЛИТЬЕ </a:t>
            </a:r>
            <a:r>
              <a:rPr lang="ru-RU" dirty="0"/>
              <a:t>ПОД ДАВЛЕНИЕМ (</a:t>
            </a:r>
            <a:r>
              <a:rPr lang="ru-RU" dirty="0" smtClean="0"/>
              <a:t>БЛОКСОПОЛИМЕР ПРОПИЛЕНА И ЭТИЛЕНА)</a:t>
            </a:r>
            <a:endParaRPr lang="en-US" dirty="0"/>
          </a:p>
        </p:txBody>
      </p:sp>
      <p:sp>
        <p:nvSpPr>
          <p:cNvPr id="8" name="Нижний колонтитул 2"/>
          <p:cNvSpPr txBox="1">
            <a:spLocks/>
          </p:cNvSpPr>
          <p:nvPr/>
        </p:nvSpPr>
        <p:spPr>
          <a:xfrm>
            <a:off x="681971" y="4711513"/>
            <a:ext cx="4468411" cy="285859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defPPr>
              <a:defRPr lang="ru-RU"/>
            </a:defPPr>
            <a:lvl1pPr marL="0" algn="l" defTabSz="778986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100" b="1" dirty="0" smtClean="0">
                <a:solidFill>
                  <a:srgbClr val="77E2C3"/>
                </a:solidFill>
              </a:rPr>
              <a:t>Малотоннажные марки</a:t>
            </a:r>
            <a:endParaRPr lang="ru-RU" sz="1100" b="1" dirty="0">
              <a:solidFill>
                <a:srgbClr val="77E2C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01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8772340"/>
              </p:ext>
            </p:extLst>
          </p:nvPr>
        </p:nvGraphicFramePr>
        <p:xfrm>
          <a:off x="124436" y="679579"/>
          <a:ext cx="8840522" cy="27238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55528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908696">
                  <a:extLst>
                    <a:ext uri="{9D8B030D-6E8A-4147-A177-3AD203B41FA5}">
                      <a16:colId xmlns:a16="http://schemas.microsoft.com/office/drawing/2014/main" val="2341037463"/>
                    </a:ext>
                  </a:extLst>
                </a:gridCol>
                <a:gridCol w="637632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2278802">
                  <a:extLst>
                    <a:ext uri="{9D8B030D-6E8A-4147-A177-3AD203B41FA5}">
                      <a16:colId xmlns:a16="http://schemas.microsoft.com/office/drawing/2014/main" val="133683315"/>
                    </a:ext>
                  </a:extLst>
                </a:gridCol>
                <a:gridCol w="2160724">
                  <a:extLst>
                    <a:ext uri="{9D8B030D-6E8A-4147-A177-3AD203B41FA5}">
                      <a16:colId xmlns:a16="http://schemas.microsoft.com/office/drawing/2014/main" val="1136004087"/>
                    </a:ext>
                  </a:extLst>
                </a:gridCol>
                <a:gridCol w="1899140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</a:tblGrid>
              <a:tr h="4151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r>
                        <a:rPr lang="en-US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PE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лотность</a:t>
                      </a:r>
                      <a:endParaRPr lang="en-US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  <a:p>
                      <a:pPr algn="ctr" fontAlgn="ctr"/>
                      <a:endParaRPr lang="ru-RU" sz="1100" b="1" i="0" u="none" strike="noStrike" dirty="0" smtClean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11886976"/>
                  </a:ext>
                </a:extLst>
              </a:tr>
              <a:tr h="335768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85612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61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,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олиэтилен высокой плотности для изготовления изделий широкого спектра применения с разрешением на контакт с пищевой продукцией</a:t>
                      </a: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войств марки в рамках ТУ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о небольшое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увеличение индекса желтизны, небольшое снижение физико-механических характеристик, небольшое снижение показателей 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SCR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</a:t>
                      </a:r>
                      <a:r>
                        <a:rPr lang="ru-RU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стойкости к УФ для марок  с УФ стабилизаторами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0923160"/>
                  </a:ext>
                </a:extLst>
              </a:tr>
              <a:tr h="3357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85610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61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7,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0305239"/>
                  </a:ext>
                </a:extLst>
              </a:tr>
              <a:tr h="3357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40552 I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53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41130"/>
                  </a:ext>
                </a:extLst>
              </a:tr>
              <a:tr h="3357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2НТ22-12</a:t>
                      </a:r>
                      <a:endParaRPr lang="en-US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58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65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-9</a:t>
                      </a: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7049650"/>
                  </a:ext>
                </a:extLst>
              </a:tr>
              <a:tr h="33576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2НТ22-12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UV1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58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65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6-9</a:t>
                      </a: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2298664"/>
                  </a:ext>
                </a:extLst>
              </a:tr>
              <a:tr h="62078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2НТ25-18</a:t>
                      </a:r>
                      <a:endParaRPr lang="en-US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58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65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-17</a:t>
                      </a:r>
                    </a:p>
                  </a:txBody>
                  <a:tcPr marL="9525" marR="9525" marT="9525" marB="0" anchor="ctr">
                    <a:solidFill>
                      <a:srgbClr val="E7EEE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8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9295045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98203" y="3786252"/>
            <a:ext cx="1087142" cy="969202"/>
          </a:xfrm>
          <a:prstGeom prst="rect">
            <a:avLst/>
          </a:prstGeom>
        </p:spPr>
      </p:pic>
      <p:pic>
        <p:nvPicPr>
          <p:cNvPr id="10" name="Picture 4" descr="Лидер-тара - Пластиковые паллеты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429" y="3669669"/>
            <a:ext cx="937335" cy="937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Китай Цены на евро в стойку из полипропилена поддоны для транспортировки и  хранения – Купить Гигиенический поддон в ru.made-in-china.com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6013" y="3467946"/>
            <a:ext cx="1164001" cy="116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29" y="48024"/>
            <a:ext cx="8247585" cy="61555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/>
              <a:t>ТЕКУЩИЕ РИСКИ ДЛЯ СЕГМЕНТА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ЛИТЬЕ </a:t>
            </a:r>
            <a:r>
              <a:rPr lang="ru-RU" dirty="0"/>
              <a:t>ПОД ДАВЛЕНИЕМ </a:t>
            </a:r>
            <a:r>
              <a:rPr lang="ru-RU" dirty="0" smtClean="0"/>
              <a:t>(</a:t>
            </a:r>
            <a:r>
              <a:rPr lang="ru-RU" dirty="0"/>
              <a:t>ПОЛИЭТИЛЕН)</a:t>
            </a:r>
            <a:endParaRPr lang="en-US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92074" y="3820756"/>
            <a:ext cx="1273819" cy="635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99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20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9944" name="Слайд think-cell" r:id="rId4" imgW="278" imgH="278" progId="TCLayout.ActiveDocument.1">
                  <p:embed/>
                </p:oleObj>
              </mc:Choice>
              <mc:Fallback>
                <p:oleObj name="Слайд think-cell" r:id="rId4" imgW="278" imgH="2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6949923"/>
              </p:ext>
            </p:extLst>
          </p:nvPr>
        </p:nvGraphicFramePr>
        <p:xfrm>
          <a:off x="115100" y="640692"/>
          <a:ext cx="8939378" cy="287936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37831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980490">
                  <a:extLst>
                    <a:ext uri="{9D8B030D-6E8A-4147-A177-3AD203B41FA5}">
                      <a16:colId xmlns:a16="http://schemas.microsoft.com/office/drawing/2014/main" val="2341037463"/>
                    </a:ext>
                  </a:extLst>
                </a:gridCol>
                <a:gridCol w="856850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2851905">
                  <a:extLst>
                    <a:ext uri="{9D8B030D-6E8A-4147-A177-3AD203B41FA5}">
                      <a16:colId xmlns:a16="http://schemas.microsoft.com/office/drawing/2014/main" val="1789626490"/>
                    </a:ext>
                  </a:extLst>
                </a:gridCol>
                <a:gridCol w="1975451">
                  <a:extLst>
                    <a:ext uri="{9D8B030D-6E8A-4147-A177-3AD203B41FA5}">
                      <a16:colId xmlns:a16="http://schemas.microsoft.com/office/drawing/2014/main" val="3789215807"/>
                    </a:ext>
                  </a:extLst>
                </a:gridCol>
                <a:gridCol w="1336851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</a:tblGrid>
              <a:tr h="433568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рка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</a:t>
                      </a:r>
                      <a:endParaRPr lang="ru-RU" sz="11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лотность</a:t>
                      </a:r>
                      <a:endParaRPr lang="en-US" sz="11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озможные риски</a:t>
                      </a:r>
                      <a:endParaRPr lang="ru-RU" sz="1100" b="1" u="none" strike="noStrike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312066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03580 SB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58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3 (2,16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рки полиэтилена высокой плотности для изготовления изделий различного объема и применения.</a:t>
                      </a:r>
                    </a:p>
                  </a:txBody>
                  <a:tcPr marL="9525" marR="9525" marT="9525" marB="0" anchor="ctr"/>
                </a:tc>
                <a:tc rowSpan="7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войств марки в рамках ТУ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Возможное увеличение  индекса желтизны, незначительное снижение физико-механических характеристик</a:t>
                      </a:r>
                      <a:r>
                        <a:rPr lang="ru-RU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небольшое снижение показателей 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SCR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461431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D10530 LB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53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0 (21,6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24805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73-83</a:t>
                      </a:r>
                      <a:endParaRPr lang="en-US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50-0,9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40-0,65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5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  <a:tr h="24805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2НТ74-15</a:t>
                      </a:r>
                      <a:endParaRPr lang="en-US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46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53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-2,0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5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7063600"/>
                  </a:ext>
                </a:extLst>
              </a:tr>
              <a:tr h="24805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2НТ75-15</a:t>
                      </a:r>
                      <a:endParaRPr lang="en-US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46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53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8-2,6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5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53454396"/>
                  </a:ext>
                </a:extLst>
              </a:tr>
              <a:tr h="24805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ПЭ2НТ76-17</a:t>
                      </a:r>
                      <a:endParaRPr lang="en-US" sz="1100" b="1" u="none" strike="noStrike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55-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</a:t>
                      </a: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961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3-3,3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5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7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4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05922740"/>
                  </a:ext>
                </a:extLst>
              </a:tr>
              <a:tr h="248053"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D</a:t>
                      </a:r>
                      <a:r>
                        <a:rPr lang="ru-RU" sz="1100" b="1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3270 B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927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,3 (2,16)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пециальная марка ПЭНП, предназначена для производства флаконов и ампул для </a:t>
                      </a:r>
                      <a:r>
                        <a:rPr lang="ru-RU" sz="1100" u="none" strike="noStrike" kern="1200" dirty="0" err="1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инфузионных</a:t>
                      </a: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растворов. Соответствует Европейской Фармакопее.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56203595"/>
                  </a:ext>
                </a:extLst>
              </a:tr>
            </a:tbl>
          </a:graphicData>
        </a:graphic>
      </p:graphicFrame>
      <p:pic>
        <p:nvPicPr>
          <p:cNvPr id="6" name="Picture 3" descr="C:\Users\ShastinDA\Desktop\plastic-hdpe-cosmetic-bottel-500x500.jpg">
            <a:extLst>
              <a:ext uri="{FF2B5EF4-FFF2-40B4-BE49-F238E27FC236}">
                <a16:creationId xmlns:a16="http://schemas.microsoft.com/office/drawing/2014/main" id="{9C8FD7C7-4B76-484F-B1FE-9343CE1F8D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075" y="3766306"/>
            <a:ext cx="2062472" cy="989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>
            <a:extLst>
              <a:ext uri="{FF2B5EF4-FFF2-40B4-BE49-F238E27FC236}">
                <a16:creationId xmlns:a16="http://schemas.microsoft.com/office/drawing/2014/main" id="{08A33D53-50A6-4A34-AFF9-077428A2B65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3557" y="3729838"/>
            <a:ext cx="2291506" cy="1021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633448C0-68EF-4CCB-9DE8-82C9A11260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5613" y="25139"/>
            <a:ext cx="6752493" cy="61555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/>
              <a:t>ТЕКУЩИЕ РИСКИ ДЛЯ СЕГМЕНТА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ЭКСТРУЗИОННО-ВЫДУВНОГО </a:t>
            </a:r>
            <a:r>
              <a:rPr lang="ru-RU" dirty="0"/>
              <a:t>ФОРМОВАНИЯ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885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беспечение стабильности компании в новых условия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6832852"/>
              </p:ext>
            </p:extLst>
          </p:nvPr>
        </p:nvGraphicFramePr>
        <p:xfrm>
          <a:off x="89522" y="648203"/>
          <a:ext cx="8869038" cy="312971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78344">
                  <a:extLst>
                    <a:ext uri="{9D8B030D-6E8A-4147-A177-3AD203B41FA5}">
                      <a16:colId xmlns:a16="http://schemas.microsoft.com/office/drawing/2014/main" val="3997354999"/>
                    </a:ext>
                  </a:extLst>
                </a:gridCol>
                <a:gridCol w="725093">
                  <a:extLst>
                    <a:ext uri="{9D8B030D-6E8A-4147-A177-3AD203B41FA5}">
                      <a16:colId xmlns:a16="http://schemas.microsoft.com/office/drawing/2014/main" val="603059901"/>
                    </a:ext>
                  </a:extLst>
                </a:gridCol>
                <a:gridCol w="4703443">
                  <a:extLst>
                    <a:ext uri="{9D8B030D-6E8A-4147-A177-3AD203B41FA5}">
                      <a16:colId xmlns:a16="http://schemas.microsoft.com/office/drawing/2014/main" val="2970582014"/>
                    </a:ext>
                  </a:extLst>
                </a:gridCol>
                <a:gridCol w="1441812">
                  <a:extLst>
                    <a:ext uri="{9D8B030D-6E8A-4147-A177-3AD203B41FA5}">
                      <a16:colId xmlns:a16="http://schemas.microsoft.com/office/drawing/2014/main" val="3868953389"/>
                    </a:ext>
                  </a:extLst>
                </a:gridCol>
                <a:gridCol w="1020346">
                  <a:extLst>
                    <a:ext uri="{9D8B030D-6E8A-4147-A177-3AD203B41FA5}">
                      <a16:colId xmlns:a16="http://schemas.microsoft.com/office/drawing/2014/main" val="487424248"/>
                    </a:ext>
                  </a:extLst>
                </a:gridCol>
              </a:tblGrid>
              <a:tr h="6965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Марка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ТР,</a:t>
                      </a:r>
                      <a:b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г/10 мин 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Применение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Ожидания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Возможные</a:t>
                      </a:r>
                      <a:r>
                        <a:rPr lang="ru-RU" sz="11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риски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708972"/>
                  </a:ext>
                </a:extLst>
              </a:tr>
              <a:tr h="348006"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3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TF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5 – 3,5</a:t>
                      </a: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Марки для термоформования, обеспечивающие повышенную производительность линий термоформования и улучшенный внешний вид изделий. </a:t>
                      </a:r>
                    </a:p>
                  </a:txBody>
                  <a:tcPr marL="9525" marR="9525" marT="9525" marB="0" anchor="ctr"/>
                </a:tc>
                <a:tc rowSpan="6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хранение </a:t>
                      </a:r>
                      <a:r>
                        <a:rPr lang="ru-RU" sz="1100" u="none" strike="noStrike" kern="1200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свойств марки в рамках ТУ. 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Соответствие условиям безопасности в рамках ТР ТС 005/2011</a:t>
                      </a:r>
                      <a:endParaRPr lang="en-US" sz="1100" b="0" i="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Небольшое снижение прозрачности и прочностных характеристик</a:t>
                      </a:r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08946181"/>
                  </a:ext>
                </a:extLst>
              </a:tr>
              <a:tr h="37700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3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TF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5 – 3,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 sz="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4802580"/>
                  </a:ext>
                </a:extLst>
              </a:tr>
              <a:tr h="3480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 H039 TF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2,5 – 3,5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67731717"/>
                  </a:ext>
                </a:extLst>
              </a:tr>
              <a:tr h="44990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4240GM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 – 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latin typeface="+mn-lt"/>
                          <a:cs typeface="Arial" panose="020B0604020202020204" pitchFamily="34" charset="0"/>
                        </a:rPr>
                        <a:t>Статистический сополимер пропилена с этиленом. Продукт характеризуется высокой прозрачностью и высокой эластичностью, рекомендуется использование в смеси с гомополимером пропилена. 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77902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100" u="none" strike="noStrike" kern="1200" dirty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9592676"/>
                  </a:ext>
                </a:extLst>
              </a:tr>
              <a:tr h="3480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300G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Блоксополимер пропилена с этиленом. Продукт характеризуется высокой ударной вязкостью в сочетании с высокой жесткостью, рекомендуется использование в смеси с гомополимером пропилена для придания изделиям стойкости к удару при отрицательных температурах. </a:t>
                      </a: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6654706"/>
                  </a:ext>
                </a:extLst>
              </a:tr>
              <a:tr h="348006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P8</a:t>
                      </a:r>
                      <a:r>
                        <a:rPr lang="ru-RU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lang="pt-BR" sz="11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00G</a:t>
                      </a:r>
                    </a:p>
                  </a:txBody>
                  <a:tcPr marL="9525" marR="9525" marT="9525" marB="0" anchor="ctr">
                    <a:solidFill>
                      <a:srgbClr val="008C9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1,5</a:t>
                      </a:r>
                      <a:endParaRPr lang="en-US" sz="1100" u="none" strike="noStrike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8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23438216"/>
                  </a:ext>
                </a:extLst>
              </a:tr>
            </a:tbl>
          </a:graphicData>
        </a:graphic>
      </p:graphicFrame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47"/>
          <a:stretch/>
        </p:blipFill>
        <p:spPr>
          <a:xfrm>
            <a:off x="1420537" y="3822575"/>
            <a:ext cx="893944" cy="877147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497" y="3777918"/>
            <a:ext cx="956798" cy="966461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6576" y="3829895"/>
            <a:ext cx="1294266" cy="862506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D9EA5721-447A-4F1E-BE0D-CB91B60E27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0771" y="0"/>
            <a:ext cx="6053672" cy="615553"/>
          </a:xfrm>
        </p:spPr>
        <p:txBody>
          <a:bodyPr vert="horz" wrap="square" lIns="0" tIns="0" rIns="0" bIns="0" rtlCol="0" anchor="t">
            <a:spAutoFit/>
          </a:bodyPr>
          <a:lstStyle/>
          <a:p>
            <a:pPr algn="ctr"/>
            <a:r>
              <a:rPr lang="ru-RU" dirty="0"/>
              <a:t>ТЕКУЩИЕ РИСКИ ДЛЯ ПОЛИПРОПИЛЕНА СЕГМЕНТА ТЕРМОФОРМОВАН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7833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heme/theme1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969F2818-97DD-4E5D-BF92-0B9B74B5FBA7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3546F04F-8B1F-4DF4-96A7-71F007F22C89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E01855AE-9594-42A2-A022-93C6AA2A2192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809696EB-28A3-4D7D-94D1-BE943D5711BE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C32F962B-1929-4094-A103-3921CB42D5F1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625C6F9B-E32B-4873-B0F8-6EA889E377EF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9</_dlc_DocId>
    <_dlc_DocIdUrl xmlns="7bda88f5-81ee-4ce0-acd0-0fc58edecc95">
      <Url>https://sharepoint/portals/template/_layouts/15/DocIdRedir.aspx?ID=E76AX7DTSNFM-10-759</Url>
      <Description>E76AX7DTSNFM-10-759</Description>
    </_dlc_DocIdUrl>
    <_x041e__x043f__x0438__x0441__x0430__x043d__x0438__x0435_ xmlns="9b0c9865-9e5f-4a19-8def-db8deaed8a57" xsi:nil="true"/>
  </documentManagement>
</p:properti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2FFB9B5-4495-4C13-BA14-466E85A0B7E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0A7FD75-1E90-43D2-ABF1-A6C12E8540AE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9b0c9865-9e5f-4a19-8def-db8deaed8a57"/>
    <ds:schemaRef ds:uri="http://purl.org/dc/elements/1.1/"/>
    <ds:schemaRef ds:uri="http://schemas.microsoft.com/office/2006/metadata/properties"/>
    <ds:schemaRef ds:uri="7bda88f5-81ee-4ce0-acd0-0fc58edecc95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FC1EEFD-48C5-4F7B-8517-DBB3AEC775EE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92F92E0E-ED67-41DF-96C8-B1A6E4369B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16х9_RU 2021 NEW</Template>
  <TotalTime>1498</TotalTime>
  <Words>2272</Words>
  <Application>Microsoft Office PowerPoint</Application>
  <PresentationFormat>Экран (16:9)</PresentationFormat>
  <Paragraphs>581</Paragraphs>
  <Slides>1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28" baseType="lpstr">
      <vt:lpstr>Arial</vt:lpstr>
      <vt:lpstr>Calibri</vt:lpstr>
      <vt:lpstr>Times New Roman</vt:lpstr>
      <vt:lpstr>Wingdings</vt:lpstr>
      <vt:lpstr>Титульные слайды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Слайд think-cell</vt:lpstr>
      <vt:lpstr>ОБЕСПЕЧЕНИЕ СТАБИЛЬНОСТИ КОМПАНИИ  В НОВЫХ УСЛОВИЯХ</vt:lpstr>
      <vt:lpstr>Ключевые приоритеты</vt:lpstr>
      <vt:lpstr>Большой объём омологаций в ближайшие полгода приведёт  к изменениям подхода к тестированию продуктов</vt:lpstr>
      <vt:lpstr>ТЕКУЩИЕ РИСКИ ДЛЯ СЕГМЕНТА  ЛИТЬЕ ПОД ДАВЛЕНИЕМ (ГОМОПОЛИМЕР ПРОПИЛЕНА)</vt:lpstr>
      <vt:lpstr>ТЕКУЩИЕ РИСКИ ДЛЯ СЕГМЕНТА  ЛИТЬЕ ПОД ДАВЛЕНИЕМ (СТАТСОПОЛИМЕР ПРОПИЛЕНА И ЭТИЛЕНА)</vt:lpstr>
      <vt:lpstr>ТЕКУЩИЕ РИСКИ ДЛЯ СЕГМЕНТА  ЛИТЬЕ ПОД ДАВЛЕНИЕМ (БЛОКСОПОЛИМЕР ПРОПИЛЕНА И ЭТИЛЕНА)</vt:lpstr>
      <vt:lpstr>ТЕКУЩИЕ РИСКИ ДЛЯ СЕГМЕНТА  ЛИТЬЕ ПОД ДАВЛЕНИЕМ (ПОЛИЭТИЛЕН)</vt:lpstr>
      <vt:lpstr>ТЕКУЩИЕ РИСКИ ДЛЯ СЕГМЕНТА  ЭКСТРУЗИОННО-ВЫДУВНОГО ФОРМОВАНИЯ</vt:lpstr>
      <vt:lpstr>ТЕКУЩИЕ РИСКИ ДЛЯ ПОЛИПРОПИЛЕНА СЕГМЕНТА ТЕРМОФОРМОВАНИЕ</vt:lpstr>
      <vt:lpstr>Перспективные продуктовые решения ПП и ПЭВП</vt:lpstr>
      <vt:lpstr>Ключевые приоритеты</vt:lpstr>
      <vt:lpstr>Поддержка партнеров: Подход к взаимодействию –  от устной рекомендации до комплексной программы</vt:lpstr>
      <vt:lpstr>Примеры взаимодействия</vt:lpstr>
      <vt:lpstr>АЛЬТЕРНАТИВНЫЕ МАРКИ ПОЛИМЕРОВ – РЕКОМЕНДАЦИИ КЛИЕНТОВ</vt:lpstr>
      <vt:lpstr>АЛЬТЕРНАТИВНЫЕ МАСТЕРБАТЧИ ФУНКЦИОНАЛЬНЫХ ДОБАВОК</vt:lpstr>
      <vt:lpstr>Опросный лист для поиска альтернативного решения</vt:lpstr>
      <vt:lpstr>Ваши контакты в Сибур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Единый шаблон презентации PowerPoint</dc:title>
  <dc:creator>Тулякова Елена Владимировна</dc:creator>
  <cp:lastModifiedBy>Коваленко Ольга Викторовна</cp:lastModifiedBy>
  <cp:revision>239</cp:revision>
  <dcterms:created xsi:type="dcterms:W3CDTF">2022-03-16T12:48:46Z</dcterms:created>
  <dcterms:modified xsi:type="dcterms:W3CDTF">2022-04-12T08:5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08128e61-b529-4dc6-902a-2bae7e28187e</vt:lpwstr>
  </property>
</Properties>
</file>